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4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2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3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1.xml" ContentType="application/vnd.openxmlformats-officedocument.themeOverr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0" r:id="rId5"/>
    <p:sldMasterId id="2147483680" r:id="rId6"/>
    <p:sldMasterId id="2147483691" r:id="rId7"/>
  </p:sldMasterIdLst>
  <p:notesMasterIdLst>
    <p:notesMasterId r:id="rId21"/>
  </p:notesMasterIdLst>
  <p:sldIdLst>
    <p:sldId id="1439" r:id="rId8"/>
    <p:sldId id="141168533" r:id="rId9"/>
    <p:sldId id="141168522" r:id="rId10"/>
    <p:sldId id="141168515" r:id="rId11"/>
    <p:sldId id="141168518" r:id="rId12"/>
    <p:sldId id="141168537" r:id="rId13"/>
    <p:sldId id="141168527" r:id="rId14"/>
    <p:sldId id="1534" r:id="rId15"/>
    <p:sldId id="141168535" r:id="rId16"/>
    <p:sldId id="141168525" r:id="rId17"/>
    <p:sldId id="141168536" r:id="rId18"/>
    <p:sldId id="442" r:id="rId19"/>
    <p:sldId id="1536" r:id="rId20"/>
  </p:sldIdLst>
  <p:sldSz cx="12192000" cy="6858000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ummary Section" id="{7D5E724C-940D-4EE4-A28A-8987FF310900}">
          <p14:sldIdLst/>
        </p14:section>
        <p14:section name="Section 1" id="{1E14BDC2-9399-4027-9CC7-382D2F34F0A9}">
          <p14:sldIdLst>
            <p14:sldId id="1439"/>
            <p14:sldId id="141168533"/>
            <p14:sldId id="141168522"/>
            <p14:sldId id="141168515"/>
            <p14:sldId id="141168518"/>
            <p14:sldId id="141168537"/>
            <p14:sldId id="141168527"/>
            <p14:sldId id="1534"/>
            <p14:sldId id="141168535"/>
            <p14:sldId id="141168525"/>
            <p14:sldId id="141168536"/>
            <p14:sldId id="442"/>
            <p14:sldId id="153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raway, Martin J (BVA)" initials="CMJ(" lastIdx="4" clrIdx="0">
    <p:extLst>
      <p:ext uri="{19B8F6BF-5375-455C-9EA6-DF929625EA0E}">
        <p15:presenceInfo xmlns:p15="http://schemas.microsoft.com/office/powerpoint/2012/main" userId="S::Martin.Caraway@va.gov::961c05fe-eb13-4d77-909b-69756823ca90" providerId="AD"/>
      </p:ext>
    </p:extLst>
  </p:cmAuthor>
  <p:cmAuthor id="2" name="Snyder, Jill" initials="SJ" lastIdx="1" clrIdx="1">
    <p:extLst>
      <p:ext uri="{19B8F6BF-5375-455C-9EA6-DF929625EA0E}">
        <p15:presenceInfo xmlns:p15="http://schemas.microsoft.com/office/powerpoint/2012/main" userId="S::Jill.Snyder@va.gov::4c089a80-6363-4ffe-bfe8-f85b56715692" providerId="AD"/>
      </p:ext>
    </p:extLst>
  </p:cmAuthor>
  <p:cmAuthor id="3" name="Mozingo, Katy" initials="MK" lastIdx="1" clrIdx="2">
    <p:extLst>
      <p:ext uri="{19B8F6BF-5375-455C-9EA6-DF929625EA0E}">
        <p15:presenceInfo xmlns:p15="http://schemas.microsoft.com/office/powerpoint/2012/main" userId="S::katy.mozingo@va.gov::28ecd424-fbdf-4234-885f-8f6bcf049c7d" providerId="AD"/>
      </p:ext>
    </p:extLst>
  </p:cmAuthor>
  <p:cmAuthor id="4" name="Green, Eric" initials="GE" lastIdx="1" clrIdx="3">
    <p:extLst>
      <p:ext uri="{19B8F6BF-5375-455C-9EA6-DF929625EA0E}">
        <p15:presenceInfo xmlns:p15="http://schemas.microsoft.com/office/powerpoint/2012/main" userId="S::Eric.Green2@va.gov::341bd4a0-e82c-4ee1-8085-32402cf51b2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A46"/>
    <a:srgbClr val="ED4545"/>
    <a:srgbClr val="00C85A"/>
    <a:srgbClr val="F38585"/>
    <a:srgbClr val="FF7171"/>
    <a:srgbClr val="00C459"/>
    <a:srgbClr val="0C5591"/>
    <a:srgbClr val="002F56"/>
    <a:srgbClr val="044E8A"/>
    <a:srgbClr val="002A3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113" autoAdjust="0"/>
    <p:restoredTop sz="94660"/>
  </p:normalViewPr>
  <p:slideViewPr>
    <p:cSldViewPr snapToGrid="0">
      <p:cViewPr varScale="1">
        <p:scale>
          <a:sx n="108" d="100"/>
          <a:sy n="108" d="100"/>
        </p:scale>
        <p:origin x="420" y="1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presProps" Target="pres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\\vacohsm01.dva.va.gov\BVA\ddirpub\Fair%20Share\FY%20Ending%209-30-22\FY2022%20WK%2029%20Monday%20Dashboard%20DRAFT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_Worksheet2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3337652198609502"/>
          <c:y val="0.15154752627790632"/>
          <c:w val="0.33324687112220169"/>
          <c:h val="0.77825630897781373"/>
        </c:manualLayout>
      </c:layout>
      <c:pieChart>
        <c:varyColors val="1"/>
        <c:ser>
          <c:idx val="0"/>
          <c:order val="0"/>
          <c:spPr>
            <a:solidFill>
              <a:schemeClr val="accent2"/>
            </a:solidFill>
          </c:spPr>
          <c:explosion val="7"/>
          <c:dPt>
            <c:idx val="0"/>
            <c:bubble3D val="0"/>
            <c:explosion val="4"/>
            <c:spPr>
              <a:solidFill>
                <a:schemeClr val="tx2"/>
              </a:solidFill>
              <a:ln>
                <a:solidFill>
                  <a:schemeClr val="tx1"/>
                </a:solidFill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  <c:extLst>
              <c:ext xmlns:c16="http://schemas.microsoft.com/office/drawing/2014/chart" uri="{C3380CC4-5D6E-409C-BE32-E72D297353CC}">
                <c16:uniqueId val="{00000001-36D4-4A4B-A704-F9943025A7F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  <a:sp3d>
                <a:bevelT w="63500" h="25400"/>
              </a:sp3d>
            </c:spPr>
            <c:extLst>
              <c:ext xmlns:c16="http://schemas.microsoft.com/office/drawing/2014/chart" uri="{C3380CC4-5D6E-409C-BE32-E72D297353CC}">
                <c16:uniqueId val="{00000003-36D4-4A4B-A704-F9943025A7FE}"/>
              </c:ext>
            </c:extLst>
          </c:dPt>
          <c:dLbls>
            <c:dLbl>
              <c:idx val="0"/>
              <c:layout>
                <c:manualLayout>
                  <c:x val="-8.3006947745145443E-2"/>
                  <c:y val="0.14663457876072894"/>
                </c:manualLayout>
              </c:layout>
              <c:tx>
                <c:rich>
                  <a:bodyPr/>
                  <a:lstStyle/>
                  <a:p>
                    <a:fld id="{A7DF1DCD-862C-4789-9CC3-53DE00584CBB}" type="VALUE">
                      <a:rPr lang="en-US" b="0"/>
                      <a:pPr/>
                      <a:t>[VALUE]</a:t>
                    </a:fld>
                    <a:r>
                      <a:rPr lang="en-US" baseline="0" dirty="0"/>
                      <a:t>
</a:t>
                    </a:r>
                    <a:fld id="{C3F3F1B6-3E9D-47A2-BC1F-DB740DA232A6}" type="PERCENTAGE">
                      <a:rPr lang="en-US" sz="3200" baseline="0"/>
                      <a:pPr/>
                      <a:t>[PERCENTAGE]</a:t>
                    </a:fld>
                    <a:endParaRPr lang="en-US" baseline="0" dirty="0"/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36D4-4A4B-A704-F9943025A7FE}"/>
                </c:ext>
              </c:extLst>
            </c:dLbl>
            <c:dLbl>
              <c:idx val="1"/>
              <c:layout>
                <c:manualLayout>
                  <c:x val="9.4152307192132911E-2"/>
                  <c:y val="-0.14435049196791833"/>
                </c:manualLayout>
              </c:layout>
              <c:tx>
                <c:rich>
                  <a:bodyPr/>
                  <a:lstStyle/>
                  <a:p>
                    <a:fld id="{B1D1EDE8-7A74-4A9C-B313-266849C463A2}" type="VALUE">
                      <a:rPr lang="en-US" b="0"/>
                      <a:pPr/>
                      <a:t>[VALUE]</a:t>
                    </a:fld>
                    <a:r>
                      <a:rPr lang="en-US" baseline="0" dirty="0"/>
                      <a:t>
</a:t>
                    </a:r>
                    <a:fld id="{E7F9229E-3FC0-4679-9510-0B871AAE331E}" type="PERCENTAGE">
                      <a:rPr lang="en-US" sz="3200" baseline="0"/>
                      <a:pPr/>
                      <a:t>[PERCENTAGE]</a:t>
                    </a:fld>
                    <a:endParaRPr lang="en-US" baseline="0" dirty="0"/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36D4-4A4B-A704-F9943025A7F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sz="2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1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1:$B$1</c:f>
              <c:strCache>
                <c:ptCount val="2"/>
                <c:pt idx="0">
                  <c:v> Hearings </c:v>
                </c:pt>
                <c:pt idx="1">
                  <c:v> Non Hearings </c:v>
                </c:pt>
              </c:strCache>
            </c:strRef>
          </c:cat>
          <c:val>
            <c:numRef>
              <c:f>Sheet1!$A$2:$B$2</c:f>
              <c:numCache>
                <c:formatCode>_(* #,##0_);_(* \(#,##0\);_(* "-"??_);_(@_)</c:formatCode>
                <c:ptCount val="2"/>
                <c:pt idx="0">
                  <c:v>77068</c:v>
                </c:pt>
                <c:pt idx="1">
                  <c:v>1227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6D4-4A4B-A704-F9943025A7FE}"/>
            </c:ext>
          </c:extLst>
        </c:ser>
        <c:dLbls>
          <c:dLblPos val="inEnd"/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3877710749456136"/>
          <c:y val="8.1703911286049549E-2"/>
          <c:w val="0.54004491608954397"/>
          <c:h val="0.72350339250968787"/>
        </c:manualLayout>
      </c:layout>
      <c:pieChart>
        <c:varyColors val="1"/>
        <c:ser>
          <c:idx val="0"/>
          <c:order val="0"/>
          <c:tx>
            <c:v>Hearings Held</c:v>
          </c:tx>
          <c:spPr>
            <a:solidFill>
              <a:schemeClr val="accent2">
                <a:lumMod val="75000"/>
              </a:schemeClr>
            </a:solidFill>
            <a:ln>
              <a:solidFill>
                <a:schemeClr val="tx1">
                  <a:lumMod val="95000"/>
                  <a:lumOff val="5000"/>
                </a:schemeClr>
              </a:solidFill>
            </a:ln>
          </c:spPr>
          <c:explosion val="4"/>
          <c:dPt>
            <c:idx val="0"/>
            <c:bubble3D val="0"/>
            <c:spPr>
              <a:solidFill>
                <a:schemeClr val="accent5">
                  <a:lumMod val="75000"/>
                </a:schemeClr>
              </a:solidFill>
              <a:ln w="9525" cap="flat" cmpd="sng" algn="ctr">
                <a:solidFill>
                  <a:schemeClr val="tx1">
                    <a:lumMod val="95000"/>
                    <a:lumOff val="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196D-4689-A7F5-8BFCA0D1D463}"/>
              </c:ext>
            </c:extLst>
          </c:dPt>
          <c:dPt>
            <c:idx val="1"/>
            <c:bubble3D val="0"/>
            <c:spPr>
              <a:solidFill>
                <a:schemeClr val="accent2">
                  <a:lumMod val="75000"/>
                </a:schemeClr>
              </a:solidFill>
              <a:ln w="9525" cap="flat" cmpd="sng" algn="ctr">
                <a:solidFill>
                  <a:schemeClr val="tx1">
                    <a:lumMod val="95000"/>
                    <a:lumOff val="5000"/>
                  </a:schemeClr>
                </a:solidFill>
                <a:round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196D-4689-A7F5-8BFCA0D1D463}"/>
              </c:ext>
            </c:extLst>
          </c:dPt>
          <c:dLbls>
            <c:dLbl>
              <c:idx val="0"/>
              <c:layout>
                <c:manualLayout>
                  <c:x val="-0.16758210522779757"/>
                  <c:y val="-0.36040580874126821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2000" b="1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CE652DE-402D-4791-935D-C0C7527EF60B}" type="VALUE">
                      <a:rPr lang="en-US" sz="1800" b="0" i="1">
                        <a:solidFill>
                          <a:schemeClr val="bg1"/>
                        </a:solidFill>
                      </a:rPr>
                      <a:pPr>
                        <a:defRPr sz="2000" b="1">
                          <a:solidFill>
                            <a:schemeClr val="bg1"/>
                          </a:solidFill>
                        </a:defRPr>
                      </a:pPr>
                      <a:t>[VALUE]</a:t>
                    </a:fld>
                    <a:r>
                      <a:rPr lang="en-US" baseline="0" dirty="0">
                        <a:solidFill>
                          <a:schemeClr val="bg1"/>
                        </a:solidFill>
                      </a:rPr>
                      <a:t>
</a:t>
                    </a:r>
                    <a:fld id="{2C34A34B-C6D0-41F9-83D2-596CC5239AD1}" type="PERCENTAGE">
                      <a:rPr lang="en-US" sz="2800" baseline="0" smtClean="0">
                        <a:solidFill>
                          <a:schemeClr val="bg1"/>
                        </a:solidFill>
                      </a:rPr>
                      <a:pPr>
                        <a:defRPr sz="2000" b="1">
                          <a:solidFill>
                            <a:schemeClr val="bg1"/>
                          </a:solidFill>
                        </a:defRPr>
                      </a:pPr>
                      <a:t>[PERCENTAGE]</a:t>
                    </a:fld>
                    <a:endParaRPr lang="en-US" sz="2800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2000" b="1">
                        <a:solidFill>
                          <a:schemeClr val="bg1"/>
                        </a:solidFill>
                      </a:defRPr>
                    </a:pPr>
                    <a:r>
                      <a:rPr lang="en-US" sz="2800" baseline="0" dirty="0">
                        <a:solidFill>
                          <a:schemeClr val="bg1"/>
                        </a:solidFill>
                      </a:rPr>
                      <a:t>Legacy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20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17462687902648533"/>
                      <c:h val="0.282647899593397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196D-4689-A7F5-8BFCA0D1D463}"/>
                </c:ext>
              </c:extLst>
            </c:dLbl>
            <c:dLbl>
              <c:idx val="1"/>
              <c:layout>
                <c:manualLayout>
                  <c:x val="0.14595977707332802"/>
                  <c:y val="0.16690851484447769"/>
                </c:manualLayout>
              </c:layout>
              <c:tx>
                <c:rich>
                  <a:bodyPr/>
                  <a:lstStyle/>
                  <a:p>
                    <a:fld id="{5F174607-AB05-414E-ADB5-7A95E9AA091B}" type="VALUE">
                      <a:rPr lang="en-US" sz="1800" b="0" i="1"/>
                      <a:pPr/>
                      <a:t>[VALUE]</a:t>
                    </a:fld>
                    <a:r>
                      <a:rPr lang="en-US" baseline="0" dirty="0"/>
                      <a:t>
</a:t>
                    </a:r>
                    <a:fld id="{3710650D-6225-44DA-BBCA-B4A4F3AA17E4}" type="PERCENTAGE">
                      <a:rPr lang="en-US" sz="2800" baseline="0" smtClean="0"/>
                      <a:pPr/>
                      <a:t>[PERCENTAGE]</a:t>
                    </a:fld>
                    <a:endParaRPr lang="en-US" sz="2800" baseline="0" dirty="0"/>
                  </a:p>
                  <a:p>
                    <a:r>
                      <a:rPr lang="en-US" sz="2800" baseline="0" dirty="0"/>
                      <a:t>AMA</a:t>
                    </a:r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196D-4689-A7F5-8BFCA0D1D4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1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('Old Email Table'!$B$5,'Old Email Table'!$B$7)</c:f>
              <c:strCache>
                <c:ptCount val="2"/>
                <c:pt idx="0">
                  <c:v>Legacy</c:v>
                </c:pt>
                <c:pt idx="1">
                  <c:v>AMA</c:v>
                </c:pt>
              </c:strCache>
            </c:strRef>
          </c:cat>
          <c:val>
            <c:numRef>
              <c:f>('Raw Data'!$AJ$140,'Raw Data'!$AM$140)</c:f>
              <c:numCache>
                <c:formatCode>_(* #,##0_);_(* \(#,##0\);_(* "-"??_);_(@_)</c:formatCode>
                <c:ptCount val="2"/>
                <c:pt idx="0">
                  <c:v>13882</c:v>
                </c:pt>
                <c:pt idx="1">
                  <c:v>40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96D-4689-A7F5-8BFCA0D1D463}"/>
            </c:ext>
          </c:extLst>
        </c:ser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58484128512703"/>
          <c:y val="4.4278989520890669E-2"/>
          <c:w val="0.86977824983297924"/>
          <c:h val="0.8456561632161866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HA + NCA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6</c:f>
              <c:strCache>
                <c:ptCount val="5"/>
                <c:pt idx="0">
                  <c:v>FY 2018</c:v>
                </c:pt>
                <c:pt idx="1">
                  <c:v>FY 2019</c:v>
                </c:pt>
                <c:pt idx="2">
                  <c:v>FY 2020</c:v>
                </c:pt>
                <c:pt idx="3">
                  <c:v>FY 2021</c:v>
                </c:pt>
                <c:pt idx="4">
                  <c:v>FY 2022 (thru Mar)</c:v>
                </c:pt>
              </c:strCache>
            </c:strRef>
          </c:cat>
          <c:val>
            <c:numRef>
              <c:f>Sheet1!$B$2:$B$6</c:f>
              <c:numCache>
                <c:formatCode>#,##0</c:formatCode>
                <c:ptCount val="5"/>
                <c:pt idx="0">
                  <c:v>20732</c:v>
                </c:pt>
                <c:pt idx="1">
                  <c:v>10793</c:v>
                </c:pt>
                <c:pt idx="2">
                  <c:v>2070</c:v>
                </c:pt>
                <c:pt idx="3">
                  <c:v>1454</c:v>
                </c:pt>
                <c:pt idx="4">
                  <c:v>15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B12-4EC2-8F75-9A1DCB9CA51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BA</c:v>
                </c:pt>
              </c:strCache>
            </c:strRef>
          </c:tx>
          <c:spPr>
            <a:solidFill>
              <a:schemeClr val="accent6">
                <a:lumMod val="2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0"/>
                  <c:y val="-9.67481695931929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B12-4EC2-8F75-9A1DCB9CA51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FY 2018</c:v>
                </c:pt>
                <c:pt idx="1">
                  <c:v>FY 2019</c:v>
                </c:pt>
                <c:pt idx="2">
                  <c:v>FY 2020</c:v>
                </c:pt>
                <c:pt idx="3">
                  <c:v>FY 2021</c:v>
                </c:pt>
                <c:pt idx="4">
                  <c:v>FY 2022 (thru Mar)</c:v>
                </c:pt>
              </c:strCache>
            </c:strRef>
          </c:cat>
          <c:val>
            <c:numRef>
              <c:f>Sheet1!$C$2:$C$6</c:f>
              <c:numCache>
                <c:formatCode>#,##0</c:formatCode>
                <c:ptCount val="5"/>
                <c:pt idx="0">
                  <c:v>267700</c:v>
                </c:pt>
                <c:pt idx="1">
                  <c:v>238772</c:v>
                </c:pt>
                <c:pt idx="2">
                  <c:v>51049</c:v>
                </c:pt>
                <c:pt idx="3">
                  <c:v>31425</c:v>
                </c:pt>
                <c:pt idx="4">
                  <c:v>301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B12-4EC2-8F75-9A1DCB9CA51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Board</c:v>
                </c:pt>
              </c:strCache>
            </c:strRef>
          </c:tx>
          <c:spPr>
            <a:solidFill>
              <a:srgbClr val="0C559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FY 2018</c:v>
                </c:pt>
                <c:pt idx="1">
                  <c:v>FY 2019</c:v>
                </c:pt>
                <c:pt idx="2">
                  <c:v>FY 2020</c:v>
                </c:pt>
                <c:pt idx="3">
                  <c:v>FY 2021</c:v>
                </c:pt>
                <c:pt idx="4">
                  <c:v>FY 2022 (thru Mar)</c:v>
                </c:pt>
              </c:strCache>
            </c:strRef>
          </c:cat>
          <c:val>
            <c:numRef>
              <c:f>Sheet1!$D$2:$D$6</c:f>
              <c:numCache>
                <c:formatCode>#,##0</c:formatCode>
                <c:ptCount val="5"/>
                <c:pt idx="0">
                  <c:v>137013</c:v>
                </c:pt>
                <c:pt idx="1">
                  <c:v>98410</c:v>
                </c:pt>
                <c:pt idx="2">
                  <c:v>121569</c:v>
                </c:pt>
                <c:pt idx="3">
                  <c:v>92461</c:v>
                </c:pt>
                <c:pt idx="4">
                  <c:v>749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B12-4EC2-8F75-9A1DCB9CA5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44"/>
        <c:overlap val="100"/>
        <c:axId val="974855488"/>
        <c:axId val="974860736"/>
      </c:barChart>
      <c:lineChart>
        <c:grouping val="standard"/>
        <c:varyColors val="0"/>
        <c:ser>
          <c:idx val="3"/>
          <c:order val="3"/>
          <c:tx>
            <c:strRef>
              <c:f>Sheet1!$E$1</c:f>
              <c:strCache>
                <c:ptCount val="1"/>
                <c:pt idx="0">
                  <c:v>Total</c:v>
                </c:pt>
              </c:strCache>
            </c:strRef>
          </c:tx>
          <c:spPr>
            <a:ln w="22225" cap="rnd">
              <a:noFill/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1" u="none" strike="noStrike" kern="1200" baseline="0">
                    <a:solidFill>
                      <a:schemeClr val="bg1">
                        <a:lumMod val="6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FY 2018</c:v>
                </c:pt>
                <c:pt idx="1">
                  <c:v>FY 2019</c:v>
                </c:pt>
                <c:pt idx="2">
                  <c:v>FY 2020</c:v>
                </c:pt>
                <c:pt idx="3">
                  <c:v>FY 2021</c:v>
                </c:pt>
                <c:pt idx="4">
                  <c:v>FY 2022 (thru Mar)</c:v>
                </c:pt>
              </c:strCache>
            </c:strRef>
          </c:cat>
          <c:val>
            <c:numRef>
              <c:f>Sheet1!$E$2:$E$6</c:f>
              <c:numCache>
                <c:formatCode>#,##0</c:formatCode>
                <c:ptCount val="5"/>
                <c:pt idx="0">
                  <c:v>425445</c:v>
                </c:pt>
                <c:pt idx="1">
                  <c:v>347975</c:v>
                </c:pt>
                <c:pt idx="2">
                  <c:v>174688</c:v>
                </c:pt>
                <c:pt idx="3">
                  <c:v>125340</c:v>
                </c:pt>
                <c:pt idx="4">
                  <c:v>1067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B12-4EC2-8F75-9A1DCB9CA5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74855488"/>
        <c:axId val="974860736"/>
      </c:lineChart>
      <c:catAx>
        <c:axId val="97485548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cap="none" spc="0" normalizeH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74860736"/>
        <c:crosses val="autoZero"/>
        <c:auto val="1"/>
        <c:lblAlgn val="ctr"/>
        <c:lblOffset val="100"/>
        <c:noMultiLvlLbl val="0"/>
      </c:catAx>
      <c:valAx>
        <c:axId val="974860736"/>
        <c:scaling>
          <c:orientation val="minMax"/>
          <c:max val="500000"/>
        </c:scaling>
        <c:delete val="1"/>
        <c:axPos val="l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out"/>
        <c:minorTickMark val="none"/>
        <c:tickLblPos val="nextTo"/>
        <c:crossAx val="974855488"/>
        <c:crosses val="autoZero"/>
        <c:crossBetween val="between"/>
      </c:valAx>
      <c:spPr>
        <a:pattFill prst="ltDnDiag">
          <a:fgClr>
            <a:schemeClr val="dk1">
              <a:lumMod val="15000"/>
              <a:lumOff val="85000"/>
            </a:schemeClr>
          </a:fgClr>
          <a:bgClr>
            <a:schemeClr val="lt1"/>
          </a:bgClr>
        </a:pattFill>
        <a:ln>
          <a:noFill/>
        </a:ln>
        <a:effectLst/>
      </c:spPr>
    </c:plotArea>
    <c:legend>
      <c:legendPos val="l"/>
      <c:legendEntry>
        <c:idx val="3"/>
        <c:delete val="1"/>
      </c:legendEntry>
      <c:layout>
        <c:manualLayout>
          <c:xMode val="edge"/>
          <c:yMode val="edge"/>
          <c:x val="3.5830469403600428E-3"/>
          <c:y val="0.19014107205584538"/>
          <c:w val="0.11711334691568311"/>
          <c:h val="0.65460976386891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1" u="none" strike="noStrike" kern="1200" baseline="0">
              <a:solidFill>
                <a:schemeClr val="dk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>
        <a:lumMod val="95000"/>
      </a:schemeClr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28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800" b="1">
                <a:solidFill>
                  <a:sysClr val="windowText" lastClr="000000"/>
                </a:solidFill>
              </a:rPr>
              <a:t>AMA Decisions</a:t>
            </a:r>
            <a:r>
              <a:rPr lang="en-US" sz="2800" b="1" baseline="0">
                <a:solidFill>
                  <a:sysClr val="windowText" lastClr="000000"/>
                </a:solidFill>
              </a:rPr>
              <a:t> Dispatched FYTD</a:t>
            </a:r>
          </a:p>
        </c:rich>
      </c:tx>
      <c:layout>
        <c:manualLayout>
          <c:xMode val="edge"/>
          <c:yMode val="edge"/>
          <c:x val="0.16019020442347975"/>
          <c:y val="3.469689173516642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8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2750966613044338"/>
          <c:y val="0.16900693192008912"/>
          <c:w val="0.75277707222081114"/>
          <c:h val="0.64985812584237768"/>
        </c:manualLayout>
      </c:layout>
      <c:barChart>
        <c:barDir val="col"/>
        <c:grouping val="stacked"/>
        <c:varyColors val="0"/>
        <c:ser>
          <c:idx val="1"/>
          <c:order val="1"/>
          <c:tx>
            <c:strRef>
              <c:f>Sheet2!$D$1</c:f>
              <c:strCache>
                <c:ptCount val="1"/>
                <c:pt idx="0">
                  <c:v>Decisions Dispatched</c:v>
                </c:pt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70C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D2C8-4C4E-BC42-4339DA7AD582}"/>
              </c:ext>
            </c:extLst>
          </c:dPt>
          <c:dPt>
            <c:idx val="1"/>
            <c:invertIfNegative val="0"/>
            <c:bubble3D val="0"/>
            <c:spPr>
              <a:solidFill>
                <a:srgbClr val="0083BE">
                  <a:lumMod val="40000"/>
                  <a:lumOff val="6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2C8-4C4E-BC42-4339DA7AD582}"/>
              </c:ext>
            </c:extLst>
          </c:dPt>
          <c:dPt>
            <c:idx val="2"/>
            <c:invertIfNegative val="0"/>
            <c:bubble3D val="0"/>
            <c:spPr>
              <a:solidFill>
                <a:sysClr val="window" lastClr="FFFFFF">
                  <a:lumMod val="65000"/>
                </a:sys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D2C8-4C4E-BC42-4339DA7AD582}"/>
              </c:ext>
            </c:extLst>
          </c:dPt>
          <c:dPt>
            <c:idx val="3"/>
            <c:invertIfNegative val="0"/>
            <c:bubble3D val="0"/>
            <c:spPr>
              <a:solidFill>
                <a:srgbClr val="0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2C8-4C4E-BC42-4339DA7AD582}"/>
              </c:ext>
            </c:extLst>
          </c:dPt>
          <c:cat>
            <c:strRef>
              <c:f>Sheet2!$B$2:$B$5</c:f>
              <c:strCache>
                <c:ptCount val="4"/>
                <c:pt idx="0">
                  <c:v>Direct</c:v>
                </c:pt>
                <c:pt idx="1">
                  <c:v>Evidence</c:v>
                </c:pt>
                <c:pt idx="2">
                  <c:v>Hearing</c:v>
                </c:pt>
                <c:pt idx="3">
                  <c:v>Total</c:v>
                </c:pt>
              </c:strCache>
              <c:extLst/>
            </c:strRef>
          </c:cat>
          <c:val>
            <c:numRef>
              <c:f>Sheet2!$D$2:$D$5</c:f>
              <c:numCache>
                <c:formatCode>_(* #,##0_);_(* \(#,##0\);_(* "-"??_);_(@_)</c:formatCode>
                <c:ptCount val="4"/>
                <c:pt idx="0">
                  <c:v>5368</c:v>
                </c:pt>
                <c:pt idx="1">
                  <c:v>1869</c:v>
                </c:pt>
                <c:pt idx="2">
                  <c:v>3992</c:v>
                </c:pt>
                <c:pt idx="3">
                  <c:v>11229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1691-4CBA-8DF8-32010216BE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609277992"/>
        <c:axId val="609278320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Sheet2!$C$1</c15:sqref>
                        </c15:formulaRef>
                      </c:ext>
                    </c:extLst>
                    <c:strCache>
                      <c:ptCount val="1"/>
                      <c:pt idx="0">
                        <c:v>Inventory</c:v>
                      </c:pt>
                    </c:strCache>
                  </c:strRef>
                </c:tx>
                <c:spPr>
                  <a:solidFill>
                    <a:schemeClr val="accent1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>
                      <c:ext uri="{02D57815-91ED-43cb-92C2-25804820EDAC}">
                        <c15:formulaRef>
                          <c15:sqref>Sheet2!$B$2:$B$5</c15:sqref>
                        </c15:formulaRef>
                      </c:ext>
                    </c:extLst>
                    <c:strCache>
                      <c:ptCount val="4"/>
                      <c:pt idx="0">
                        <c:v>Direct</c:v>
                      </c:pt>
                      <c:pt idx="1">
                        <c:v>Evidence</c:v>
                      </c:pt>
                      <c:pt idx="2">
                        <c:v>Hearing</c:v>
                      </c:pt>
                      <c:pt idx="3">
                        <c:v>Total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Sheet2!$C$2:$C$5</c15:sqref>
                        </c15:formulaRef>
                      </c:ext>
                    </c:extLst>
                    <c:numCache>
                      <c:formatCode>_(* #,##0_);_(* \(#,##0\);_(* "-"??_);_(@_)</c:formatCode>
                      <c:ptCount val="4"/>
                      <c:pt idx="0">
                        <c:v>35099</c:v>
                      </c:pt>
                      <c:pt idx="1">
                        <c:v>24301</c:v>
                      </c:pt>
                      <c:pt idx="2">
                        <c:v>67756</c:v>
                      </c:pt>
                      <c:pt idx="3">
                        <c:v>127156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1-1691-4CBA-8DF8-32010216BEF8}"/>
                  </c:ext>
                </c:extLst>
              </c15:ser>
            </c15:filteredBarSeries>
            <c15:filteredBa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2!$E$1</c15:sqref>
                        </c15:formulaRef>
                      </c:ext>
                    </c:extLst>
                    <c:strCache>
                      <c:ptCount val="1"/>
                      <c:pt idx="0">
                        <c:v>Total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2!$B$2:$B$5</c15:sqref>
                        </c15:formulaRef>
                      </c:ext>
                    </c:extLst>
                    <c:strCache>
                      <c:ptCount val="4"/>
                      <c:pt idx="0">
                        <c:v>Direct</c:v>
                      </c:pt>
                      <c:pt idx="1">
                        <c:v>Evidence</c:v>
                      </c:pt>
                      <c:pt idx="2">
                        <c:v>Hearing</c:v>
                      </c:pt>
                      <c:pt idx="3">
                        <c:v>Total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2!$E$2:$E$5</c15:sqref>
                        </c15:formulaRef>
                      </c:ext>
                    </c:extLst>
                    <c:numCache>
                      <c:formatCode>_(* #,##0_);_(* \(#,##0\);_(* "-"??_);_(@_)</c:formatCode>
                      <c:ptCount val="4"/>
                      <c:pt idx="0">
                        <c:v>40467</c:v>
                      </c:pt>
                      <c:pt idx="1">
                        <c:v>26170</c:v>
                      </c:pt>
                      <c:pt idx="2">
                        <c:v>71748</c:v>
                      </c:pt>
                      <c:pt idx="3">
                        <c:v>138385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2-1691-4CBA-8DF8-32010216BEF8}"/>
                  </c:ext>
                </c:extLst>
              </c15:ser>
            </c15:filteredBarSeries>
            <c15:filteredBar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2!$F$1</c15:sqref>
                        </c15:formulaRef>
                      </c:ext>
                    </c:extLst>
                    <c:strCache>
                      <c:ptCount val="1"/>
                      <c:pt idx="0">
                        <c:v>AMA          Lane Choice %</c:v>
                      </c:pt>
                    </c:strCache>
                  </c:strRef>
                </c:tx>
                <c:spPr>
                  <a:solidFill>
                    <a:schemeClr val="accent4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2!$B$2:$B$5</c15:sqref>
                        </c15:formulaRef>
                      </c:ext>
                    </c:extLst>
                    <c:strCache>
                      <c:ptCount val="4"/>
                      <c:pt idx="0">
                        <c:v>Direct</c:v>
                      </c:pt>
                      <c:pt idx="1">
                        <c:v>Evidence</c:v>
                      </c:pt>
                      <c:pt idx="2">
                        <c:v>Hearing</c:v>
                      </c:pt>
                      <c:pt idx="3">
                        <c:v>Total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2!$F$2:$F$5</c15:sqref>
                        </c15:formulaRef>
                      </c:ext>
                    </c:extLst>
                    <c:numCache>
                      <c:formatCode>0%</c:formatCode>
                      <c:ptCount val="4"/>
                      <c:pt idx="0">
                        <c:v>0.29242331177512015</c:v>
                      </c:pt>
                      <c:pt idx="1">
                        <c:v>0.18911009141164142</c:v>
                      </c:pt>
                      <c:pt idx="2">
                        <c:v>0.51846659681323848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1691-4CBA-8DF8-32010216BEF8}"/>
                  </c:ext>
                </c:extLst>
              </c15:ser>
            </c15:filteredBarSeries>
          </c:ext>
        </c:extLst>
      </c:barChart>
      <c:catAx>
        <c:axId val="609277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09278320"/>
        <c:crosses val="autoZero"/>
        <c:auto val="1"/>
        <c:lblAlgn val="ctr"/>
        <c:lblOffset val="100"/>
        <c:noMultiLvlLbl val="0"/>
      </c:catAx>
      <c:valAx>
        <c:axId val="6092783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_(* #,##0_);_(* \(#,##0\);_(* &quot;-&quot;??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09277992"/>
        <c:crosses val="autoZero"/>
        <c:crossBetween val="between"/>
      </c:valAx>
      <c:dTable>
        <c:showHorzBorder val="1"/>
        <c:showVertBorder val="1"/>
        <c:showOutline val="1"/>
        <c:showKeys val="0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8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dTable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790341691445649"/>
          <c:y val="9.6754896358949183E-2"/>
          <c:w val="0.63696514411263483"/>
          <c:h val="0.98262998095219911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explosion val="4"/>
          <c:dPt>
            <c:idx val="0"/>
            <c:bubble3D val="0"/>
            <c:spPr>
              <a:solidFill>
                <a:schemeClr val="bg1">
                  <a:lumMod val="6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4113-4B24-9088-5F3626DDE219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4113-4B24-9088-5F3626DDE219}"/>
              </c:ext>
            </c:extLst>
          </c:dPt>
          <c:dPt>
            <c:idx val="2"/>
            <c:bubble3D val="0"/>
            <c:spPr>
              <a:solidFill>
                <a:schemeClr val="accent2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113-4B24-9088-5F3626DDE219}"/>
              </c:ext>
            </c:extLst>
          </c:dPt>
          <c:dLbls>
            <c:dLbl>
              <c:idx val="0"/>
              <c:layout>
                <c:manualLayout>
                  <c:x val="-0.23479117921429182"/>
                  <c:y val="-5.5580862813765036E-2"/>
                </c:manualLayout>
              </c:layout>
              <c:tx>
                <c:rich>
                  <a:bodyPr/>
                  <a:lstStyle/>
                  <a:p>
                    <a:fld id="{66BE095D-381C-4AA7-B33D-499697C40AC5}" type="CATEGORYNAME">
                      <a:rPr lang="en-US" sz="2400" smtClean="0"/>
                      <a:pPr/>
                      <a:t>[CATEGORY NAME]</a:t>
                    </a:fld>
                    <a:br>
                      <a:rPr lang="en-US" dirty="0"/>
                    </a:br>
                    <a:r>
                      <a:rPr lang="en-US" sz="1000" b="0" i="1" dirty="0"/>
                      <a:t>Most Popular Option</a:t>
                    </a:r>
                    <a:r>
                      <a:rPr lang="en-US" baseline="0" dirty="0"/>
                      <a:t>
</a:t>
                    </a:r>
                    <a:fld id="{4B6734F5-D2BD-4EBC-846C-EBF936CBA9DB}" type="VALUE">
                      <a:rPr lang="en-US" sz="1800" b="0" baseline="0" dirty="0"/>
                      <a:pPr/>
                      <a:t>[VALUE]</a:t>
                    </a:fld>
                    <a:r>
                      <a:rPr lang="en-US" b="0" baseline="0" dirty="0"/>
                      <a:t>
</a:t>
                    </a:r>
                    <a:fld id="{9A637320-F5BE-4E18-9017-FF9B7B7B6DAF}" type="PERCENTAGE">
                      <a:rPr lang="en-US" sz="2400" b="1" baseline="0" dirty="0"/>
                      <a:pPr/>
                      <a:t>[PERCENTAGE]</a:t>
                    </a:fld>
                    <a:endParaRPr lang="en-US" b="0" baseline="0" dirty="0"/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0429546347925462"/>
                      <c:h val="0.28315318867502604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4113-4B24-9088-5F3626DDE219}"/>
                </c:ext>
              </c:extLst>
            </c:dLbl>
            <c:dLbl>
              <c:idx val="1"/>
              <c:layout>
                <c:manualLayout>
                  <c:x val="0.23040220198934019"/>
                  <c:y val="-0.14873075649694167"/>
                </c:manualLayout>
              </c:layout>
              <c:tx>
                <c:rich>
                  <a:bodyPr/>
                  <a:lstStyle/>
                  <a:p>
                    <a:fld id="{2398FC4A-B228-4D1F-B1AB-F35C46F5A7C6}" type="CATEGORYNAME">
                      <a:rPr lang="en-US" sz="2400" smtClean="0"/>
                      <a:pPr/>
                      <a:t>[CATEGORY NAME]</a:t>
                    </a:fld>
                    <a:br>
                      <a:rPr lang="en-US" sz="2000" dirty="0"/>
                    </a:br>
                    <a:r>
                      <a:rPr lang="en-US" sz="1000" b="0" i="1" baseline="0" dirty="0"/>
                      <a:t>Goal &lt; 365 days</a:t>
                    </a:r>
                    <a:r>
                      <a:rPr lang="en-US" baseline="0" dirty="0"/>
                      <a:t>
</a:t>
                    </a:r>
                    <a:fld id="{A38439CB-A6EC-4190-A305-77FD352F9275}" type="VALUE">
                      <a:rPr lang="en-US" sz="1800" b="0" baseline="0" dirty="0"/>
                      <a:pPr/>
                      <a:t>[VALUE]</a:t>
                    </a:fld>
                    <a:r>
                      <a:rPr lang="en-US" b="0" baseline="0" dirty="0"/>
                      <a:t>
</a:t>
                    </a:r>
                    <a:fld id="{0FF3032B-43BB-4A60-B22C-06564F504BD7}" type="PERCENTAGE">
                      <a:rPr lang="en-US" sz="2400" b="1" baseline="0" dirty="0"/>
                      <a:pPr/>
                      <a:t>[PERCENTAGE]</a:t>
                    </a:fld>
                    <a:endParaRPr lang="en-US" b="0" baseline="0" dirty="0"/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19697296565981079"/>
                      <c:h val="0.31378535301057164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4113-4B24-9088-5F3626DDE219}"/>
                </c:ext>
              </c:extLst>
            </c:dLbl>
            <c:dLbl>
              <c:idx val="2"/>
              <c:layout>
                <c:manualLayout>
                  <c:x val="0.19038108779128626"/>
                  <c:y val="0.19415146848383749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2000" b="1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865E1F9A-2DDF-41A5-9133-F8A9334831C3}" type="CATEGORYNAME">
                      <a:rPr lang="en-US" sz="2000" dirty="0"/>
                      <a:pPr>
                        <a:defRPr sz="2000" b="1">
                          <a:solidFill>
                            <a:schemeClr val="tx1"/>
                          </a:solidFill>
                        </a:defRPr>
                      </a:pPr>
                      <a:t>[CATEGORY NAME]</a:t>
                    </a:fld>
                    <a:r>
                      <a:rPr lang="en-US" baseline="0" dirty="0"/>
                      <a:t>
</a:t>
                    </a:r>
                    <a:r>
                      <a:rPr lang="en-US" sz="1050" b="0" i="1" baseline="0" dirty="0"/>
                      <a:t>Goal &lt; 550 days</a:t>
                    </a:r>
                    <a:br>
                      <a:rPr lang="en-US" baseline="0" dirty="0"/>
                    </a:br>
                    <a:fld id="{F79CFCB1-BC0A-48F8-AEA1-BB4DCD5E8FB5}" type="VALUE">
                      <a:rPr lang="en-US" sz="1800" b="0" baseline="0" smtClean="0"/>
                      <a:pPr>
                        <a:defRPr sz="2000" b="1">
                          <a:solidFill>
                            <a:schemeClr val="tx1"/>
                          </a:solidFill>
                        </a:defRPr>
                      </a:pPr>
                      <a:t>[VALUE]</a:t>
                    </a:fld>
                    <a:r>
                      <a:rPr lang="en-US" b="0" baseline="0" dirty="0"/>
                      <a:t>
</a:t>
                    </a:r>
                    <a:fld id="{63E9B0DD-DF36-447A-AF2E-B20A5E3C24DC}" type="PERCENTAGE">
                      <a:rPr lang="en-US" sz="2000" b="1" baseline="0" dirty="0"/>
                      <a:pPr>
                        <a:defRPr sz="2000" b="1">
                          <a:solidFill>
                            <a:schemeClr val="tx1"/>
                          </a:solidFill>
                        </a:defRPr>
                      </a:pPr>
                      <a:t>[PERCENTAGE]</a:t>
                    </a:fld>
                    <a:endParaRPr lang="en-US" b="0" baseline="0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20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0.21192955695058965"/>
                      <c:h val="0.26166541688758388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4113-4B24-9088-5F3626DDE21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0"/>
            <c:showCatName val="1"/>
            <c:showSerName val="0"/>
            <c:showPercent val="1"/>
            <c:showBubbleSize val="0"/>
            <c:separator>
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Hearing</c:v>
                </c:pt>
                <c:pt idx="1">
                  <c:v>Direct</c:v>
                </c:pt>
                <c:pt idx="2">
                  <c:v>Evidence</c:v>
                </c:pt>
              </c:strCache>
            </c:strRef>
          </c:cat>
          <c:val>
            <c:numRef>
              <c:f>Sheet1!$B$2:$B$4</c:f>
              <c:numCache>
                <c:formatCode>#,##0</c:formatCode>
                <c:ptCount val="3"/>
                <c:pt idx="0">
                  <c:v>67756</c:v>
                </c:pt>
                <c:pt idx="1">
                  <c:v>35099</c:v>
                </c:pt>
                <c:pt idx="2">
                  <c:v>243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113-4B24-9088-5F3626DDE2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000" b="1" i="0" u="none" strike="noStrike" kern="1200" cap="none" spc="0" normalizeH="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pPr>
            <a:r>
              <a:rPr lang="en-US" sz="2000">
                <a:solidFill>
                  <a:schemeClr val="tx1"/>
                </a:solidFill>
              </a:rPr>
              <a:t>Board Disposition Rates</a:t>
            </a:r>
          </a:p>
        </c:rich>
      </c:tx>
      <c:layout>
        <c:manualLayout>
          <c:xMode val="edge"/>
          <c:yMode val="edge"/>
          <c:x val="0.26300391270535628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1" i="0" u="none" strike="noStrike" kern="1200" cap="none" spc="0" normalizeH="0" baseline="0">
              <a:solidFill>
                <a:schemeClr val="tx1"/>
              </a:solidFill>
              <a:latin typeface="+mj-lt"/>
              <a:ea typeface="+mj-ea"/>
              <a:cs typeface="+mj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4.5272507817517946E-2"/>
          <c:y val="0.12455402389284555"/>
          <c:w val="0.90933205730994737"/>
          <c:h val="0.6595552942076377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mand</c:v>
                </c:pt>
              </c:strCache>
            </c:strRef>
          </c:tx>
          <c:spPr>
            <a:ln w="2222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dLbls>
            <c:dLbl>
              <c:idx val="4"/>
              <c:spPr>
                <a:solidFill>
                  <a:srgbClr val="CDCDFF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chemeClr val="dk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A523-4C38-ABE0-8E4D0C8E201D}"/>
                </c:ext>
              </c:extLst>
            </c:dLbl>
            <c:spPr>
              <a:solidFill>
                <a:srgbClr val="CDCDFF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FY 2018</c:v>
                </c:pt>
                <c:pt idx="1">
                  <c:v>FY 2019</c:v>
                </c:pt>
                <c:pt idx="2">
                  <c:v>FY 2020</c:v>
                </c:pt>
                <c:pt idx="3">
                  <c:v>FY 2021</c:v>
                </c:pt>
                <c:pt idx="4">
                  <c:v>FY 2022 
(thru Mar)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55000000000000004</c:v>
                </c:pt>
                <c:pt idx="1">
                  <c:v>0.56000000000000005</c:v>
                </c:pt>
                <c:pt idx="2">
                  <c:v>0.56000000000000005</c:v>
                </c:pt>
                <c:pt idx="3">
                  <c:v>0.53</c:v>
                </c:pt>
                <c:pt idx="4">
                  <c:v>0.567283585453111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203-4A88-BEA0-C0577D73E03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llowed</c:v>
                </c:pt>
              </c:strCache>
            </c:strRef>
          </c:tx>
          <c:spPr>
            <a:ln w="2222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4"/>
              <c:layout>
                <c:manualLayout>
                  <c:x val="-3.6691774699385497E-2"/>
                  <c:y val="-8.0644695283101531E-2"/>
                </c:manualLayout>
              </c:layout>
              <c:spPr>
                <a:solidFill>
                  <a:schemeClr val="tx2">
                    <a:lumMod val="20000"/>
                    <a:lumOff val="80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chemeClr val="dk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4176971802760265E-2"/>
                      <c:h val="9.084642806796518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A523-4C38-ABE0-8E4D0C8E201D}"/>
                </c:ext>
              </c:extLst>
            </c:dLbl>
            <c:spPr>
              <a:solidFill>
                <a:schemeClr val="tx2">
                  <a:lumMod val="20000"/>
                  <a:lumOff val="80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FY 2018</c:v>
                </c:pt>
                <c:pt idx="1">
                  <c:v>FY 2019</c:v>
                </c:pt>
                <c:pt idx="2">
                  <c:v>FY 2020</c:v>
                </c:pt>
                <c:pt idx="3">
                  <c:v>FY 2021</c:v>
                </c:pt>
                <c:pt idx="4">
                  <c:v>FY 2022 
(thru Mar)</c:v>
                </c:pt>
              </c:strCache>
            </c:strRef>
          </c:cat>
          <c:val>
            <c:numRef>
              <c:f>Sheet1!$C$2:$C$6</c:f>
              <c:numCache>
                <c:formatCode>0%</c:formatCode>
                <c:ptCount val="5"/>
                <c:pt idx="0">
                  <c:v>0.2</c:v>
                </c:pt>
                <c:pt idx="1">
                  <c:v>0.19</c:v>
                </c:pt>
                <c:pt idx="2">
                  <c:v>0.19</c:v>
                </c:pt>
                <c:pt idx="3">
                  <c:v>0.19</c:v>
                </c:pt>
                <c:pt idx="4">
                  <c:v>0.18930110707343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203-4A88-BEA0-C0577D73E03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Denied</c:v>
                </c:pt>
              </c:strCache>
            </c:strRef>
          </c:tx>
          <c:spPr>
            <a:ln w="2222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dLbl>
              <c:idx val="4"/>
              <c:layout>
                <c:manualLayout>
                  <c:x val="-3.7805406586686519E-2"/>
                  <c:y val="2.9640158851312478E-3"/>
                </c:manualLayout>
              </c:layout>
              <c:spPr>
                <a:solidFill>
                  <a:schemeClr val="accent3">
                    <a:lumMod val="40000"/>
                    <a:lumOff val="60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chemeClr val="dk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6.1550873436324247E-2"/>
                      <c:h val="7.068521455976163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A523-4C38-ABE0-8E4D0C8E201D}"/>
                </c:ext>
              </c:extLst>
            </c:dLbl>
            <c:spPr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FY 2018</c:v>
                </c:pt>
                <c:pt idx="1">
                  <c:v>FY 2019</c:v>
                </c:pt>
                <c:pt idx="2">
                  <c:v>FY 2020</c:v>
                </c:pt>
                <c:pt idx="3">
                  <c:v>FY 2021</c:v>
                </c:pt>
                <c:pt idx="4">
                  <c:v>FY 2022 
(thru Mar)</c:v>
                </c:pt>
              </c:strCache>
            </c:strRef>
          </c:cat>
          <c:val>
            <c:numRef>
              <c:f>Sheet1!$D$2:$D$6</c:f>
              <c:numCache>
                <c:formatCode>0%</c:formatCode>
                <c:ptCount val="5"/>
                <c:pt idx="0">
                  <c:v>0.21</c:v>
                </c:pt>
                <c:pt idx="1">
                  <c:v>0.21</c:v>
                </c:pt>
                <c:pt idx="2">
                  <c:v>0.2</c:v>
                </c:pt>
                <c:pt idx="3">
                  <c:v>0.22</c:v>
                </c:pt>
                <c:pt idx="4">
                  <c:v>0.176540184230541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203-4A88-BEA0-C0577D73E03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Other</c:v>
                </c:pt>
              </c:strCache>
            </c:strRef>
          </c:tx>
          <c:spPr>
            <a:ln w="22225" cap="rnd">
              <a:solidFill>
                <a:schemeClr val="bg1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dLbls>
            <c:dLbl>
              <c:idx val="4"/>
              <c:spPr>
                <a:solidFill>
                  <a:schemeClr val="bg1">
                    <a:lumMod val="95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chemeClr val="dk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A523-4C38-ABE0-8E4D0C8E201D}"/>
                </c:ext>
              </c:extLst>
            </c:dLbl>
            <c:spPr>
              <a:solidFill>
                <a:schemeClr val="bg1">
                  <a:lumMod val="95000"/>
                </a:scheme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FY 2018</c:v>
                </c:pt>
                <c:pt idx="1">
                  <c:v>FY 2019</c:v>
                </c:pt>
                <c:pt idx="2">
                  <c:v>FY 2020</c:v>
                </c:pt>
                <c:pt idx="3">
                  <c:v>FY 2021</c:v>
                </c:pt>
                <c:pt idx="4">
                  <c:v>FY 2022 
(thru Mar)</c:v>
                </c:pt>
              </c:strCache>
            </c:strRef>
          </c:cat>
          <c:val>
            <c:numRef>
              <c:f>Sheet1!$E$2:$E$6</c:f>
              <c:numCache>
                <c:formatCode>0%</c:formatCode>
                <c:ptCount val="5"/>
                <c:pt idx="0">
                  <c:v>0.04</c:v>
                </c:pt>
                <c:pt idx="1">
                  <c:v>0.04</c:v>
                </c:pt>
                <c:pt idx="2">
                  <c:v>0.05</c:v>
                </c:pt>
                <c:pt idx="3">
                  <c:v>0.06</c:v>
                </c:pt>
                <c:pt idx="4">
                  <c:v>6.6875123242908258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203-4A88-BEA0-C0577D73E03B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867158808"/>
        <c:axId val="867159136"/>
      </c:lineChart>
      <c:catAx>
        <c:axId val="86715880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cap="none" spc="0" normalizeH="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67159136"/>
        <c:crosses val="autoZero"/>
        <c:auto val="1"/>
        <c:lblAlgn val="ctr"/>
        <c:lblOffset val="100"/>
        <c:noMultiLvlLbl val="0"/>
      </c:catAx>
      <c:valAx>
        <c:axId val="867159136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dk1">
                  <a:lumMod val="15000"/>
                  <a:lumOff val="85000"/>
                  <a:alpha val="54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867158808"/>
        <c:crosses val="autoZero"/>
        <c:crossBetween val="between"/>
      </c:valAx>
      <c:spPr>
        <a:pattFill prst="ltDnDiag">
          <a:fgClr>
            <a:schemeClr val="dk1">
              <a:lumMod val="15000"/>
              <a:lumOff val="85000"/>
            </a:schemeClr>
          </a:fgClr>
          <a:bgClr>
            <a:schemeClr val="lt1"/>
          </a:bgClr>
        </a:pattFill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lt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553312487197784"/>
          <c:y val="8.7146833245658251E-2"/>
          <c:w val="0.77306767642875773"/>
          <c:h val="0.8663187485196822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BA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FY 2019</c:v>
                </c:pt>
                <c:pt idx="1">
                  <c:v>FY 2020</c:v>
                </c:pt>
                <c:pt idx="2">
                  <c:v>FY 2021</c:v>
                </c:pt>
                <c:pt idx="3">
                  <c:v>FY 2022 (thru Mar)</c:v>
                </c:pt>
              </c:strCache>
            </c:strRef>
          </c:cat>
          <c:val>
            <c:numRef>
              <c:f>Sheet1!$B$2:$B$5</c:f>
              <c:numCache>
                <c:formatCode>#,##0</c:formatCode>
                <c:ptCount val="4"/>
                <c:pt idx="0">
                  <c:v>120405</c:v>
                </c:pt>
                <c:pt idx="1">
                  <c:v>344380</c:v>
                </c:pt>
                <c:pt idx="2">
                  <c:v>354179</c:v>
                </c:pt>
                <c:pt idx="3">
                  <c:v>2033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0D0-4A2D-A481-A7CAFA3F5C1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Board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0"/>
                  <c:y val="-9.67481695931929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40D0-4A2D-A481-A7CAFA3F5C1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FY 2019</c:v>
                </c:pt>
                <c:pt idx="1">
                  <c:v>FY 2020</c:v>
                </c:pt>
                <c:pt idx="2">
                  <c:v>FY 2021</c:v>
                </c:pt>
                <c:pt idx="3">
                  <c:v>FY 2022 (thru Mar)</c:v>
                </c:pt>
              </c:strCache>
            </c:strRef>
          </c:cat>
          <c:val>
            <c:numRef>
              <c:f>Sheet1!$C$2:$C$5</c:f>
              <c:numCache>
                <c:formatCode>#,##0</c:formatCode>
                <c:ptCount val="4"/>
                <c:pt idx="0">
                  <c:v>21009</c:v>
                </c:pt>
                <c:pt idx="1">
                  <c:v>48841</c:v>
                </c:pt>
                <c:pt idx="2">
                  <c:v>72924</c:v>
                </c:pt>
                <c:pt idx="3">
                  <c:v>303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0D0-4A2D-A481-A7CAFA3F5C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44"/>
        <c:overlap val="100"/>
        <c:axId val="974855488"/>
        <c:axId val="974860736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Total</c:v>
                </c:pt>
              </c:strCache>
            </c:strRef>
          </c:tx>
          <c:spPr>
            <a:ln w="22225" cap="rnd">
              <a:noFill/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FY 2019</c:v>
                </c:pt>
                <c:pt idx="1">
                  <c:v>FY 2020</c:v>
                </c:pt>
                <c:pt idx="2">
                  <c:v>FY 2021</c:v>
                </c:pt>
                <c:pt idx="3">
                  <c:v>FY 2022 (thru Mar)</c:v>
                </c:pt>
              </c:strCache>
            </c:strRef>
          </c:cat>
          <c:val>
            <c:numRef>
              <c:f>Sheet1!$D$2:$D$5</c:f>
              <c:numCache>
                <c:formatCode>#,##0</c:formatCode>
                <c:ptCount val="4"/>
                <c:pt idx="0">
                  <c:v>141414</c:v>
                </c:pt>
                <c:pt idx="1">
                  <c:v>393221</c:v>
                </c:pt>
                <c:pt idx="2">
                  <c:v>427103</c:v>
                </c:pt>
                <c:pt idx="3">
                  <c:v>2336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0D0-4A2D-A481-A7CAFA3F5C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74855488"/>
        <c:axId val="974860736"/>
      </c:lineChart>
      <c:catAx>
        <c:axId val="974855488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crossAx val="974860736"/>
        <c:crosses val="autoZero"/>
        <c:auto val="1"/>
        <c:lblAlgn val="ctr"/>
        <c:lblOffset val="100"/>
        <c:noMultiLvlLbl val="0"/>
      </c:catAx>
      <c:valAx>
        <c:axId val="974860736"/>
        <c:scaling>
          <c:orientation val="minMax"/>
          <c:max val="500000"/>
        </c:scaling>
        <c:delete val="1"/>
        <c:axPos val="l"/>
        <c:majorGridlines>
          <c:spPr>
            <a:ln w="9525" cap="flat" cmpd="sng" algn="ctr">
              <a:solidFill>
                <a:schemeClr val="dk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out"/>
        <c:minorTickMark val="none"/>
        <c:tickLblPos val="nextTo"/>
        <c:crossAx val="974855488"/>
        <c:crosses val="autoZero"/>
        <c:crossBetween val="between"/>
      </c:valAx>
      <c:spPr>
        <a:pattFill prst="ltDnDiag">
          <a:fgClr>
            <a:schemeClr val="dk1">
              <a:lumMod val="15000"/>
              <a:lumOff val="85000"/>
            </a:schemeClr>
          </a:fgClr>
          <a:bgClr>
            <a:schemeClr val="lt1"/>
          </a:bgClr>
        </a:pattFill>
        <a:ln>
          <a:noFill/>
        </a:ln>
        <a:effectLst/>
      </c:spPr>
    </c:plotArea>
    <c:legend>
      <c:legendPos val="l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400" b="0" i="1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400" b="0" i="1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legendEntry>
      <c:legendEntry>
        <c:idx val="2"/>
        <c:delete val="1"/>
      </c:legendEntry>
      <c:layout>
        <c:manualLayout>
          <c:xMode val="edge"/>
          <c:yMode val="edge"/>
          <c:x val="0.10345307504970698"/>
          <c:y val="0.62825912434010311"/>
          <c:w val="7.061377061846924E-2"/>
          <c:h val="0.1898974915971388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1" u="none" strike="noStrike" kern="1200" baseline="0">
              <a:solidFill>
                <a:schemeClr val="dk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lt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961705059279159E-2"/>
          <c:y val="5.5736266700360561E-2"/>
          <c:w val="0.93172976184073975"/>
          <c:h val="0.94426373329963942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mand</c:v>
                </c:pt>
              </c:strCache>
            </c:strRef>
          </c:tx>
          <c:spPr>
            <a:ln w="22225" cap="rnd">
              <a:solidFill>
                <a:schemeClr val="accent3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dLbls>
            <c:spPr>
              <a:solidFill>
                <a:schemeClr val="accent3">
                  <a:lumMod val="75000"/>
                </a:schemeClr>
              </a:solidFill>
              <a:ln>
                <a:solidFill>
                  <a:schemeClr val="accent3">
                    <a:lumMod val="50000"/>
                  </a:schemeClr>
                </a:solidFill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FY 2019</c:v>
                </c:pt>
                <c:pt idx="1">
                  <c:v>FY 2020</c:v>
                </c:pt>
                <c:pt idx="2">
                  <c:v>FY 2021</c:v>
                </c:pt>
                <c:pt idx="3">
                  <c:v>FY 2022 
(thru Mar)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37</c:v>
                </c:pt>
                <c:pt idx="1">
                  <c:v>0.38</c:v>
                </c:pt>
                <c:pt idx="2">
                  <c:v>0.38</c:v>
                </c:pt>
                <c:pt idx="3">
                  <c:v>0.391736723395530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203-4A88-BEA0-C0577D73E03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llowed</c:v>
                </c:pt>
              </c:strCache>
            </c:strRef>
          </c:tx>
          <c:spPr>
            <a:ln w="2222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2.7292800152961396E-2"/>
                  <c:y val="4.336827381976820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BDE-4FE2-AD2F-449E43E57FCE}"/>
                </c:ext>
              </c:extLst>
            </c:dLbl>
            <c:dLbl>
              <c:idx val="1"/>
              <c:layout>
                <c:manualLayout>
                  <c:x val="-2.7292800152961396E-2"/>
                  <c:y val="5.637875596569876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BDE-4FE2-AD2F-449E43E57FCE}"/>
                </c:ext>
              </c:extLst>
            </c:dLbl>
            <c:dLbl>
              <c:idx val="2"/>
              <c:layout>
                <c:manualLayout>
                  <c:x val="-2.7292800152961396E-2"/>
                  <c:y val="-2.60209642918609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BDE-4FE2-AD2F-449E43E57FCE}"/>
                </c:ext>
              </c:extLst>
            </c:dLbl>
            <c:spPr>
              <a:solidFill>
                <a:srgbClr val="00C85A"/>
              </a:solidFill>
              <a:ln>
                <a:solidFill>
                  <a:srgbClr val="009A46"/>
                </a:solidFill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FY 2019</c:v>
                </c:pt>
                <c:pt idx="1">
                  <c:v>FY 2020</c:v>
                </c:pt>
                <c:pt idx="2">
                  <c:v>FY 2021</c:v>
                </c:pt>
                <c:pt idx="3">
                  <c:v>FY 2022 
(thru Mar)</c:v>
                </c:pt>
              </c:strCache>
            </c:strRef>
          </c:cat>
          <c:val>
            <c:numRef>
              <c:f>Sheet1!$C$2:$C$5</c:f>
              <c:numCache>
                <c:formatCode>0%</c:formatCode>
                <c:ptCount val="4"/>
                <c:pt idx="0">
                  <c:v>0.3</c:v>
                </c:pt>
                <c:pt idx="1">
                  <c:v>0.27</c:v>
                </c:pt>
                <c:pt idx="2">
                  <c:v>0.28999999999999998</c:v>
                </c:pt>
                <c:pt idx="3">
                  <c:v>0.2888045929874923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203-4A88-BEA0-C0577D73E03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Denied</c:v>
                </c:pt>
              </c:strCache>
            </c:strRef>
          </c:tx>
          <c:spPr>
            <a:ln w="2222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Pt>
            <c:idx val="2"/>
            <c:marker>
              <c:symbol val="none"/>
            </c:marker>
            <c:bubble3D val="0"/>
            <c:spPr>
              <a:ln w="22225" cap="rnd">
                <a:solidFill>
                  <a:srgbClr val="F38585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BBDE-4FE2-AD2F-449E43E57FCE}"/>
              </c:ext>
            </c:extLst>
          </c:dPt>
          <c:dLbls>
            <c:dLbl>
              <c:idx val="1"/>
              <c:layout>
                <c:manualLayout>
                  <c:x val="-2.7292800152961396E-2"/>
                  <c:y val="-8.6736547639536567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BDE-4FE2-AD2F-449E43E57FCE}"/>
                </c:ext>
              </c:extLst>
            </c:dLbl>
            <c:dLbl>
              <c:idx val="2"/>
              <c:layout>
                <c:manualLayout>
                  <c:x val="-2.7292800152961396E-2"/>
                  <c:y val="3.469461905581462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BDE-4FE2-AD2F-449E43E57FCE}"/>
                </c:ext>
              </c:extLst>
            </c:dLbl>
            <c:spPr>
              <a:solidFill>
                <a:srgbClr val="F38585"/>
              </a:solidFill>
              <a:ln>
                <a:solidFill>
                  <a:srgbClr val="FF0000"/>
                </a:solidFill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FY 2019</c:v>
                </c:pt>
                <c:pt idx="1">
                  <c:v>FY 2020</c:v>
                </c:pt>
                <c:pt idx="2">
                  <c:v>FY 2021</c:v>
                </c:pt>
                <c:pt idx="3">
                  <c:v>FY 2022 
(thru Mar)</c:v>
                </c:pt>
              </c:strCache>
            </c:strRef>
          </c:cat>
          <c:val>
            <c:numRef>
              <c:f>Sheet1!$D$2:$D$5</c:f>
              <c:numCache>
                <c:formatCode>0%</c:formatCode>
                <c:ptCount val="4"/>
                <c:pt idx="0">
                  <c:v>0.31</c:v>
                </c:pt>
                <c:pt idx="1">
                  <c:v>0.28000000000000003</c:v>
                </c:pt>
                <c:pt idx="2">
                  <c:v>0.24</c:v>
                </c:pt>
                <c:pt idx="3">
                  <c:v>0.202583555464424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203-4A88-BEA0-C0577D73E03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Other</c:v>
                </c:pt>
              </c:strCache>
            </c:strRef>
          </c:tx>
          <c:spPr>
            <a:ln w="2222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dLbls>
            <c:spPr>
              <a:solidFill>
                <a:schemeClr val="bg1">
                  <a:lumMod val="95000"/>
                </a:schemeClr>
              </a:solidFill>
              <a:ln>
                <a:solidFill>
                  <a:schemeClr val="bg1">
                    <a:lumMod val="75000"/>
                  </a:schemeClr>
                </a:solidFill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FY 2019</c:v>
                </c:pt>
                <c:pt idx="1">
                  <c:v>FY 2020</c:v>
                </c:pt>
                <c:pt idx="2">
                  <c:v>FY 2021</c:v>
                </c:pt>
                <c:pt idx="3">
                  <c:v>FY 2022 
(thru Mar)</c:v>
                </c:pt>
              </c:strCache>
            </c:strRef>
          </c:cat>
          <c:val>
            <c:numRef>
              <c:f>Sheet1!$E$2:$E$5</c:f>
              <c:numCache>
                <c:formatCode>0%</c:formatCode>
                <c:ptCount val="4"/>
                <c:pt idx="0">
                  <c:v>0.02</c:v>
                </c:pt>
                <c:pt idx="1">
                  <c:v>7.0000000000000007E-2</c:v>
                </c:pt>
                <c:pt idx="2">
                  <c:v>0.1</c:v>
                </c:pt>
                <c:pt idx="3">
                  <c:v>0.11687512815255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203-4A88-BEA0-C0577D73E03B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867158808"/>
        <c:axId val="867159136"/>
      </c:lineChart>
      <c:catAx>
        <c:axId val="86715880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867159136"/>
        <c:crosses val="autoZero"/>
        <c:auto val="1"/>
        <c:lblAlgn val="ctr"/>
        <c:lblOffset val="100"/>
        <c:noMultiLvlLbl val="0"/>
      </c:catAx>
      <c:valAx>
        <c:axId val="867159136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dk1">
                  <a:lumMod val="15000"/>
                  <a:lumOff val="85000"/>
                  <a:alpha val="54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867158808"/>
        <c:crosses val="autoZero"/>
        <c:crossBetween val="between"/>
      </c:valAx>
      <c:spPr>
        <a:pattFill prst="ltDnDiag">
          <a:fgClr>
            <a:schemeClr val="dk1">
              <a:lumMod val="15000"/>
              <a:lumOff val="85000"/>
            </a:schemeClr>
          </a:fgClr>
          <a:bgClr>
            <a:schemeClr val="lt1"/>
          </a:bgClr>
        </a:pattFill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lt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810346940313646"/>
          <c:y val="0.11105425360859039"/>
          <c:w val="0.78503810390862638"/>
          <c:h val="0.6614867299979670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urrently Under Timeliness Goal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Direct Docket
365 Day Goal</c:v>
                </c:pt>
                <c:pt idx="1">
                  <c:v>Evidence Docket
550 Day Goal</c:v>
                </c:pt>
                <c:pt idx="2">
                  <c:v>Hearing Docket
730 Day Goal</c:v>
                </c:pt>
              </c:strCache>
            </c:strRef>
          </c:cat>
          <c:val>
            <c:numRef>
              <c:f>Sheet1!$B$2:$B$4</c:f>
              <c:numCache>
                <c:formatCode>#,##0</c:formatCode>
                <c:ptCount val="3"/>
                <c:pt idx="0">
                  <c:v>18795</c:v>
                </c:pt>
                <c:pt idx="1">
                  <c:v>15338</c:v>
                </c:pt>
                <c:pt idx="2">
                  <c:v>455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AD8-42C0-9216-F73483EAE4E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urrently Over Timeliness Goal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Direct Docket
365 Day Goal</c:v>
                </c:pt>
                <c:pt idx="1">
                  <c:v>Evidence Docket
550 Day Goal</c:v>
                </c:pt>
                <c:pt idx="2">
                  <c:v>Hearing Docket
730 Day Goal</c:v>
                </c:pt>
              </c:strCache>
            </c:strRef>
          </c:cat>
          <c:val>
            <c:numRef>
              <c:f>Sheet1!$C$2:$C$4</c:f>
              <c:numCache>
                <c:formatCode>#,##0</c:formatCode>
                <c:ptCount val="3"/>
                <c:pt idx="0">
                  <c:v>16304</c:v>
                </c:pt>
                <c:pt idx="1">
                  <c:v>8963</c:v>
                </c:pt>
                <c:pt idx="2">
                  <c:v>222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AD8-42C0-9216-F73483EAE4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63000360"/>
        <c:axId val="562991504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Total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4.6809161891750432E-2"/>
                  <c:y val="-6.466908832811008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2000" b="0" i="1" u="none" strike="noStrike" kern="1200" baseline="0">
                        <a:solidFill>
                          <a:schemeClr val="bg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0EDA44F0-3642-4A0F-96F0-688A5635E396}" type="VALUE">
                      <a:rPr lang="en-US" sz="2000" b="0" i="1" baseline="0" smtClean="0">
                        <a:solidFill>
                          <a:schemeClr val="bg1">
                            <a:lumMod val="75000"/>
                          </a:schemeClr>
                        </a:solidFill>
                      </a:rPr>
                      <a:pPr>
                        <a:defRPr sz="2000" b="0" i="1" baseline="0">
                          <a:solidFill>
                            <a:schemeClr val="bg1">
                              <a:lumMod val="75000"/>
                            </a:schemeClr>
                          </a:solidFill>
                        </a:defRPr>
                      </a:pPr>
                      <a:t>[VALUE]</a:t>
                    </a:fld>
                    <a:endParaRPr lang="en-US"/>
                  </a:p>
                </c:rich>
              </c:tx>
              <c:spPr>
                <a:solidFill>
                  <a:schemeClr val="bg1"/>
                </a:solidFill>
                <a:ln>
                  <a:solidFill>
                    <a:schemeClr val="bg1"/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2000" b="0" i="1" u="none" strike="noStrike" kern="1200" baseline="0">
                      <a:solidFill>
                        <a:schemeClr val="bg1">
                          <a:lumMod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9.2370211632172822E-2"/>
                      <c:h val="0.10827101416201539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6565-43FA-99DC-E3CED95088F3}"/>
                </c:ext>
              </c:extLst>
            </c:dLbl>
            <c:dLbl>
              <c:idx val="1"/>
              <c:layout>
                <c:manualLayout>
                  <c:x val="-4.8979557655928138E-2"/>
                  <c:y val="-6.0292667380744833E-2"/>
                </c:manualLayout>
              </c:layout>
              <c:spPr>
                <a:solidFill>
                  <a:schemeClr val="bg1"/>
                </a:solidFill>
                <a:ln>
                  <a:solidFill>
                    <a:schemeClr val="bg1"/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2000" b="0" i="1" u="none" strike="noStrike" kern="1200" baseline="0">
                      <a:solidFill>
                        <a:schemeClr val="bg1">
                          <a:lumMod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1517805551202249E-2"/>
                      <c:h val="8.419409504079450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6565-43FA-99DC-E3CED95088F3}"/>
                </c:ext>
              </c:extLst>
            </c:dLbl>
            <c:dLbl>
              <c:idx val="2"/>
              <c:layout>
                <c:manualLayout>
                  <c:x val="-4.1383001577273475E-2"/>
                  <c:y val="-5.4449161265997283E-2"/>
                </c:manualLayout>
              </c:layout>
              <c:spPr>
                <a:solidFill>
                  <a:schemeClr val="bg1"/>
                </a:solidFill>
                <a:ln>
                  <a:solidFill>
                    <a:schemeClr val="bg1"/>
                  </a:solidFill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2000" b="0" i="1" u="none" strike="noStrike" kern="1200" baseline="0">
                      <a:solidFill>
                        <a:schemeClr val="bg1">
                          <a:lumMod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9808594319457554E-2"/>
                      <c:h val="7.382585325544353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6565-43FA-99DC-E3CED95088F3}"/>
                </c:ext>
              </c:extLst>
            </c:dLbl>
            <c:spPr>
              <a:solidFill>
                <a:schemeClr val="bg1"/>
              </a:solidFill>
              <a:ln>
                <a:solidFill>
                  <a:schemeClr val="bg1"/>
                </a:solidFill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1" u="none" strike="noStrike" kern="1200" baseline="0">
                    <a:solidFill>
                      <a:schemeClr val="bg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bg1"/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Direct Docket
365 Day Goal</c:v>
                </c:pt>
                <c:pt idx="1">
                  <c:v>Evidence Docket
550 Day Goal</c:v>
                </c:pt>
                <c:pt idx="2">
                  <c:v>Hearing Docket
730 Day Goal</c:v>
                </c:pt>
              </c:strCache>
            </c:strRef>
          </c:cat>
          <c:val>
            <c:numRef>
              <c:f>Sheet1!$D$2:$D$4</c:f>
              <c:numCache>
                <c:formatCode>#,##0</c:formatCode>
                <c:ptCount val="3"/>
                <c:pt idx="0">
                  <c:v>35099</c:v>
                </c:pt>
                <c:pt idx="1">
                  <c:v>24301</c:v>
                </c:pt>
                <c:pt idx="2">
                  <c:v>6775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AD8-42C0-9216-F73483EAE4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63000360"/>
        <c:axId val="562991504"/>
      </c:lineChart>
      <c:catAx>
        <c:axId val="5630003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62991504"/>
        <c:crosses val="autoZero"/>
        <c:auto val="1"/>
        <c:lblAlgn val="ctr"/>
        <c:lblOffset val="100"/>
        <c:noMultiLvlLbl val="0"/>
      </c:catAx>
      <c:valAx>
        <c:axId val="562991504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crossAx val="5630003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l"/>
      <c:legendEntry>
        <c:idx val="2"/>
        <c:delete val="1"/>
      </c:legendEntry>
      <c:layout>
        <c:manualLayout>
          <c:xMode val="edge"/>
          <c:yMode val="edge"/>
          <c:x val="1.2037283740173229E-2"/>
          <c:y val="0.48668456330357746"/>
          <c:w val="0.13811617953605365"/>
          <c:h val="0.2900600477414973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1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44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54">
  <cs:axisTitle>
    <cs:lnRef idx="0"/>
    <cs:fillRef idx="0"/>
    <cs:effectRef idx="0"/>
    <cs:fontRef idx="minor">
      <a:schemeClr val="tx1">
        <a:lumMod val="50000"/>
        <a:lumOff val="50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400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21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 cap="none" spc="0" normalizeH="0" baseline="0"/>
  </cs:categoryAxis>
  <cs:chartArea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lt1"/>
      </a:solidFill>
      <a:ln w="1587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064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plotArea>
  <cs:plotArea3D>
    <cs:lnRef idx="0"/>
    <cs:fillRef idx="0"/>
    <cs:effectRef idx="0"/>
    <cs:fontRef idx="minor">
      <a:schemeClr val="dk1"/>
    </cs:fontRef>
    <cs:spPr>
      <a:solidFill>
        <a:schemeClr val="lt1"/>
      </a:solidFill>
    </cs:spPr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dk1">
        <a:lumMod val="50000"/>
        <a:lumOff val="50000"/>
      </a:schemeClr>
    </cs:fontRef>
    <cs:defRPr sz="2128" b="1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32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 cap="none" spc="0" normalizeH="0" baseline="0"/>
  </cs:categoryAxis>
  <cs:chartArea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lt1"/>
      </a:solidFill>
      <a:ln w="1587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064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  <a:alpha val="54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  <a:alpha val="51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plotArea>
  <cs:plotArea3D>
    <cs:lnRef idx="0"/>
    <cs:fillRef idx="0"/>
    <cs:effectRef idx="0"/>
    <cs:fontRef idx="minor">
      <a:schemeClr val="dk1"/>
    </cs:fontRef>
    <cs:spPr>
      <a:solidFill>
        <a:schemeClr val="lt1"/>
      </a:solidFill>
    </cs:spPr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dk1">
        <a:lumMod val="50000"/>
        <a:lumOff val="50000"/>
      </a:schemeClr>
    </cs:fontRef>
    <cs:defRPr sz="2128" b="1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1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 cap="none" spc="0" normalizeH="0" baseline="0"/>
  </cs:categoryAxis>
  <cs:chartArea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lt1"/>
      </a:solidFill>
      <a:ln w="1587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064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plotArea>
  <cs:plotArea3D>
    <cs:lnRef idx="0"/>
    <cs:fillRef idx="0"/>
    <cs:effectRef idx="0"/>
    <cs:fontRef idx="minor">
      <a:schemeClr val="dk1"/>
    </cs:fontRef>
    <cs:spPr>
      <a:solidFill>
        <a:schemeClr val="lt1"/>
      </a:solidFill>
    </cs:spPr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dk1">
        <a:lumMod val="50000"/>
        <a:lumOff val="50000"/>
      </a:schemeClr>
    </cs:fontRef>
    <cs:defRPr sz="2128" b="1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32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 cap="none" spc="0" normalizeH="0" baseline="0"/>
  </cs:categoryAxis>
  <cs:chartArea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lt1"/>
      </a:solidFill>
      <a:ln w="1587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064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  <a:alpha val="54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  <a:alpha val="51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plotArea>
  <cs:plotArea3D>
    <cs:lnRef idx="0"/>
    <cs:fillRef idx="0"/>
    <cs:effectRef idx="0"/>
    <cs:fontRef idx="minor">
      <a:schemeClr val="dk1"/>
    </cs:fontRef>
    <cs:spPr>
      <a:solidFill>
        <a:schemeClr val="lt1"/>
      </a:solidFill>
    </cs:spPr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dk1">
        <a:lumMod val="50000"/>
        <a:lumOff val="50000"/>
      </a:schemeClr>
    </cs:fontRef>
    <cs:defRPr sz="2128" b="1" kern="1200" cap="none" spc="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  <cs:spPr>
      <a:pattFill prst="ltDnDiag">
        <a:fgClr>
          <a:schemeClr val="dk1">
            <a:lumMod val="15000"/>
            <a:lumOff val="85000"/>
          </a:schemeClr>
        </a:fgClr>
        <a:bgClr>
          <a:schemeClr val="lt1"/>
        </a:bgClr>
      </a:pattFill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8FC3399-5314-4DBF-8987-2C24B41462F2}" type="doc">
      <dgm:prSet loTypeId="urn:microsoft.com/office/officeart/2008/layout/NameandTitleOrganizationalChart" loCatId="hierarchy" qsTypeId="urn:microsoft.com/office/officeart/2005/8/quickstyle/simple2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0DD23B33-7BD0-4AB6-BF7A-ED7A4528986C}">
      <dgm:prSet phldrT="[Text]" custT="1"/>
      <dgm:spPr>
        <a:solidFill>
          <a:srgbClr val="044E8A"/>
        </a:solidFill>
      </dgm:spPr>
      <dgm:t>
        <a:bodyPr/>
        <a:lstStyle/>
        <a:p>
          <a:r>
            <a:rPr lang="en-US" sz="2400" dirty="0"/>
            <a:t>         </a:t>
          </a:r>
          <a:r>
            <a:rPr lang="en-US" sz="3200" b="1" dirty="0"/>
            <a:t>Office of the Secretary</a:t>
          </a:r>
          <a:endParaRPr lang="en-US" sz="2400" b="1" dirty="0"/>
        </a:p>
      </dgm:t>
    </dgm:pt>
    <dgm:pt modelId="{BB2BD4CF-9CE5-4424-97CB-517425803A14}" type="parTrans" cxnId="{CD4FBC9C-5670-4459-ABDE-A5F11CCDAF29}">
      <dgm:prSet/>
      <dgm:spPr/>
      <dgm:t>
        <a:bodyPr/>
        <a:lstStyle/>
        <a:p>
          <a:endParaRPr lang="en-US"/>
        </a:p>
      </dgm:t>
    </dgm:pt>
    <dgm:pt modelId="{E43F7863-8C28-436F-AE37-5EFF154DBBD4}" type="sibTrans" cxnId="{CD4FBC9C-5670-4459-ABDE-A5F11CCDAF29}">
      <dgm:prSet custT="1"/>
      <dgm:spPr>
        <a:solidFill>
          <a:schemeClr val="bg2">
            <a:lumMod val="90000"/>
          </a:schemeClr>
        </a:solidFill>
      </dgm:spPr>
      <dgm:t>
        <a:bodyPr/>
        <a:lstStyle/>
        <a:p>
          <a:pPr algn="ctr"/>
          <a:r>
            <a:rPr lang="en-US" sz="2000" b="1" dirty="0"/>
            <a:t>Secretary of Veterans Affairs                                                                           Denis McDonough</a:t>
          </a:r>
        </a:p>
      </dgm:t>
    </dgm:pt>
    <dgm:pt modelId="{4225691D-CB3D-4E26-82B4-6EA743E41A4A}">
      <dgm:prSet phldrT="[Text]" custT="1"/>
      <dgm:spPr>
        <a:gradFill flip="none" rotWithShape="0">
          <a:gsLst>
            <a:gs pos="64000">
              <a:schemeClr val="bg1">
                <a:lumMod val="65000"/>
                <a:shade val="30000"/>
                <a:satMod val="115000"/>
              </a:schemeClr>
            </a:gs>
            <a:gs pos="100000">
              <a:schemeClr val="bg1">
                <a:lumMod val="65000"/>
                <a:shade val="67500"/>
                <a:satMod val="115000"/>
              </a:schemeClr>
            </a:gs>
            <a:gs pos="100000">
              <a:schemeClr val="bg1">
                <a:lumMod val="65000"/>
                <a:shade val="100000"/>
                <a:satMod val="115000"/>
              </a:schemeClr>
            </a:gs>
          </a:gsLst>
          <a:lin ang="5400000" scaled="1"/>
          <a:tileRect/>
        </a:gradFill>
      </dgm:spPr>
      <dgm:t>
        <a:bodyPr bIns="0"/>
        <a:lstStyle/>
        <a:p>
          <a:r>
            <a:rPr lang="en-US" sz="2400" b="1" dirty="0"/>
            <a:t>Veterans </a:t>
          </a:r>
          <a:br>
            <a:rPr lang="en-US" sz="2400" b="1" dirty="0"/>
          </a:br>
          <a:r>
            <a:rPr lang="en-US" sz="2400" b="1" dirty="0"/>
            <a:t>Health Administration </a:t>
          </a:r>
        </a:p>
      </dgm:t>
    </dgm:pt>
    <dgm:pt modelId="{6460F51E-136B-407E-A2CA-6D5CA3C61B10}" type="parTrans" cxnId="{E5D60D0B-8327-4F40-AAFA-2C40710FB44D}">
      <dgm:prSet>
        <dgm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dgm:style>
      </dgm:prSet>
      <dgm:spPr>
        <a:ln w="47625"/>
      </dgm:spPr>
      <dgm:t>
        <a:bodyPr/>
        <a:lstStyle/>
        <a:p>
          <a:endParaRPr lang="en-US"/>
        </a:p>
      </dgm:t>
    </dgm:pt>
    <dgm:pt modelId="{9227E2D8-D461-4C5A-B28D-4B798E013A8A}" type="sibTrans" cxnId="{E5D60D0B-8327-4F40-AAFA-2C40710FB44D}">
      <dgm:prSet/>
      <dgm:spPr>
        <a:noFill/>
        <a:ln>
          <a:noFill/>
        </a:ln>
      </dgm:spPr>
      <dgm:t>
        <a:bodyPr/>
        <a:lstStyle/>
        <a:p>
          <a:endParaRPr lang="en-US"/>
        </a:p>
      </dgm:t>
    </dgm:pt>
    <dgm:pt modelId="{4CBDF97E-CFE9-4AEF-ACF4-BA0FFC8DB8FA}">
      <dgm:prSet phldrT="[Text]" custT="1"/>
      <dgm:spPr>
        <a:gradFill flip="none" rotWithShape="0">
          <a:gsLst>
            <a:gs pos="69000">
              <a:schemeClr val="bg1">
                <a:lumMod val="65000"/>
                <a:shade val="30000"/>
                <a:satMod val="115000"/>
              </a:schemeClr>
            </a:gs>
            <a:gs pos="100000">
              <a:schemeClr val="bg1">
                <a:lumMod val="65000"/>
                <a:shade val="67500"/>
                <a:satMod val="115000"/>
              </a:schemeClr>
            </a:gs>
            <a:gs pos="100000">
              <a:schemeClr val="bg1">
                <a:lumMod val="65000"/>
                <a:shade val="100000"/>
                <a:satMod val="115000"/>
              </a:schemeClr>
            </a:gs>
          </a:gsLst>
          <a:lin ang="5400000" scaled="1"/>
          <a:tileRect/>
        </a:gradFill>
      </dgm:spPr>
      <dgm:t>
        <a:bodyPr bIns="0"/>
        <a:lstStyle/>
        <a:p>
          <a:r>
            <a:rPr lang="en-US" sz="2400" b="1" dirty="0"/>
            <a:t>Veterans </a:t>
          </a:r>
          <a:br>
            <a:rPr lang="en-US" sz="2400" b="1" dirty="0"/>
          </a:br>
          <a:r>
            <a:rPr lang="en-US" sz="2400" b="1" dirty="0"/>
            <a:t>Benefits Administration</a:t>
          </a:r>
        </a:p>
      </dgm:t>
    </dgm:pt>
    <dgm:pt modelId="{F06BD54E-4E99-4022-97CC-75E4B48B5D2D}" type="parTrans" cxnId="{9E69E899-F4E0-48CB-A1B2-BE3A2B2FED5E}">
      <dgm:prSet/>
      <dgm:spPr/>
      <dgm:t>
        <a:bodyPr/>
        <a:lstStyle/>
        <a:p>
          <a:endParaRPr lang="en-US"/>
        </a:p>
      </dgm:t>
    </dgm:pt>
    <dgm:pt modelId="{452869CF-DB6B-4F78-9E96-D53AD9827520}" type="sibTrans" cxnId="{9E69E899-F4E0-48CB-A1B2-BE3A2B2FED5E}">
      <dgm:prSet custT="1"/>
      <dgm:spPr>
        <a:noFill/>
        <a:ln>
          <a:noFill/>
        </a:ln>
      </dgm:spPr>
      <dgm:t>
        <a:bodyPr/>
        <a:lstStyle/>
        <a:p>
          <a:pPr algn="ctr"/>
          <a:endParaRPr lang="en-US" sz="1400"/>
        </a:p>
      </dgm:t>
    </dgm:pt>
    <dgm:pt modelId="{CB810DEE-3C8A-46E0-9599-CF67D3474CCE}">
      <dgm:prSet phldrT="[Text]" custT="1"/>
      <dgm:spPr>
        <a:gradFill flip="none" rotWithShape="0">
          <a:gsLst>
            <a:gs pos="70000">
              <a:schemeClr val="bg1">
                <a:lumMod val="65000"/>
                <a:shade val="30000"/>
                <a:satMod val="115000"/>
              </a:schemeClr>
            </a:gs>
            <a:gs pos="100000">
              <a:schemeClr val="bg1">
                <a:lumMod val="65000"/>
                <a:shade val="67500"/>
                <a:satMod val="115000"/>
              </a:schemeClr>
            </a:gs>
            <a:gs pos="100000">
              <a:schemeClr val="bg1">
                <a:lumMod val="65000"/>
                <a:shade val="100000"/>
                <a:satMod val="115000"/>
              </a:schemeClr>
            </a:gs>
          </a:gsLst>
          <a:lin ang="5400000" scaled="1"/>
          <a:tileRect/>
        </a:gradFill>
      </dgm:spPr>
      <dgm:t>
        <a:bodyPr bIns="0" anchor="ctr" anchorCtr="0"/>
        <a:lstStyle/>
        <a:p>
          <a:r>
            <a:rPr lang="en-US" sz="2400" b="1" dirty="0"/>
            <a:t>National Cemetery Administration </a:t>
          </a:r>
        </a:p>
      </dgm:t>
    </dgm:pt>
    <dgm:pt modelId="{491A82FE-768B-428D-886B-E9A6747C536B}" type="parTrans" cxnId="{99227726-E603-440E-B236-F1F1903EC3FF}">
      <dgm:prSet>
        <dgm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dgm:style>
      </dgm:prSet>
      <dgm:spPr>
        <a:ln w="47625"/>
      </dgm:spPr>
      <dgm:t>
        <a:bodyPr/>
        <a:lstStyle/>
        <a:p>
          <a:endParaRPr lang="en-US"/>
        </a:p>
      </dgm:t>
    </dgm:pt>
    <dgm:pt modelId="{8A358153-C84F-4040-8CD3-61FF30571681}" type="sibTrans" cxnId="{99227726-E603-440E-B236-F1F1903EC3FF}">
      <dgm:prSet custT="1"/>
      <dgm:spPr>
        <a:noFill/>
        <a:ln>
          <a:noFill/>
        </a:ln>
      </dgm:spPr>
      <dgm:t>
        <a:bodyPr/>
        <a:lstStyle/>
        <a:p>
          <a:pPr algn="ctr"/>
          <a:endParaRPr lang="en-US" sz="1400"/>
        </a:p>
      </dgm:t>
    </dgm:pt>
    <dgm:pt modelId="{79C7327E-E1A8-46C8-AC0B-71A853623ECB}">
      <dgm:prSet phldrT="[Text]" custT="1"/>
      <dgm:spPr>
        <a:solidFill>
          <a:schemeClr val="bg1">
            <a:lumMod val="75000"/>
          </a:schemeClr>
        </a:solidFill>
        <a:ln>
          <a:solidFill>
            <a:schemeClr val="bg1"/>
          </a:solidFill>
        </a:ln>
      </dgm:spPr>
      <dgm:t>
        <a:bodyPr bIns="91440"/>
        <a:lstStyle/>
        <a:p>
          <a:r>
            <a:rPr lang="en-US" sz="2200" b="1" dirty="0">
              <a:solidFill>
                <a:schemeClr val="bg2">
                  <a:lumMod val="10000"/>
                </a:schemeClr>
              </a:solidFill>
            </a:rPr>
            <a:t>Board of </a:t>
          </a:r>
          <a:br>
            <a:rPr lang="en-US" sz="2200" b="1" dirty="0">
              <a:solidFill>
                <a:schemeClr val="bg2">
                  <a:lumMod val="10000"/>
                </a:schemeClr>
              </a:solidFill>
            </a:rPr>
          </a:br>
          <a:r>
            <a:rPr lang="en-US" sz="2200" b="1" dirty="0">
              <a:solidFill>
                <a:schemeClr val="bg2">
                  <a:lumMod val="10000"/>
                </a:schemeClr>
              </a:solidFill>
            </a:rPr>
            <a:t>Veterans’ </a:t>
          </a:r>
          <a:br>
            <a:rPr lang="en-US" sz="2200" b="1" dirty="0">
              <a:solidFill>
                <a:schemeClr val="bg2">
                  <a:lumMod val="10000"/>
                </a:schemeClr>
              </a:solidFill>
            </a:rPr>
          </a:br>
          <a:r>
            <a:rPr lang="en-US" sz="2200" b="1" dirty="0">
              <a:solidFill>
                <a:schemeClr val="bg2">
                  <a:lumMod val="10000"/>
                </a:schemeClr>
              </a:solidFill>
            </a:rPr>
            <a:t>Appeals</a:t>
          </a:r>
        </a:p>
      </dgm:t>
    </dgm:pt>
    <dgm:pt modelId="{C3DCA95D-C7D5-4F98-8C87-818DD9A7BEF3}" type="parTrans" cxnId="{00F40314-45DE-4FC2-BDE6-B369B3E3E13B}">
      <dgm:prSet>
        <dgm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dgm:style>
      </dgm:prSet>
      <dgm:spPr>
        <a:ln w="38100">
          <a:solidFill>
            <a:srgbClr val="0070C0">
              <a:alpha val="69000"/>
            </a:srgbClr>
          </a:solidFill>
          <a:headEnd type="none" w="med" len="med"/>
          <a:tailEnd type="none" w="med" len="med"/>
        </a:ln>
      </dgm:spPr>
      <dgm:t>
        <a:bodyPr/>
        <a:lstStyle/>
        <a:p>
          <a:endParaRPr lang="en-US"/>
        </a:p>
      </dgm:t>
    </dgm:pt>
    <dgm:pt modelId="{2BF976C2-BCC5-4665-B6E8-FE994049E517}" type="sibTrans" cxnId="{00F40314-45DE-4FC2-BDE6-B369B3E3E13B}">
      <dgm:prSet custT="1"/>
      <dgm:spPr>
        <a:solidFill>
          <a:schemeClr val="bg2">
            <a:lumMod val="90000"/>
            <a:alpha val="90000"/>
          </a:schemeClr>
        </a:solidFill>
      </dgm:spPr>
      <dgm:t>
        <a:bodyPr/>
        <a:lstStyle/>
        <a:p>
          <a:pPr algn="ctr"/>
          <a:r>
            <a:rPr lang="en-US" sz="2000" b="1" i="0" dirty="0"/>
            <a:t>Chairman </a:t>
          </a:r>
          <a:br>
            <a:rPr lang="en-US" sz="2000" b="1" i="0" dirty="0"/>
          </a:br>
          <a:r>
            <a:rPr lang="en-US" sz="2000" b="1" i="0" dirty="0"/>
            <a:t>Cheryl Mason </a:t>
          </a:r>
        </a:p>
      </dgm:t>
    </dgm:pt>
    <dgm:pt modelId="{3CD97D01-653F-49B3-BA82-BBE9F8E0E0D4}" type="pres">
      <dgm:prSet presAssocID="{C8FC3399-5314-4DBF-8987-2C24B41462F2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11B28FE4-8451-4026-86D2-A7A90147F1E2}" type="pres">
      <dgm:prSet presAssocID="{0DD23B33-7BD0-4AB6-BF7A-ED7A4528986C}" presName="hierRoot1" presStyleCnt="0">
        <dgm:presLayoutVars>
          <dgm:hierBranch val="init"/>
        </dgm:presLayoutVars>
      </dgm:prSet>
      <dgm:spPr/>
    </dgm:pt>
    <dgm:pt modelId="{2DB0E60E-CB7B-4D5B-929B-77C1FAC8D7E5}" type="pres">
      <dgm:prSet presAssocID="{0DD23B33-7BD0-4AB6-BF7A-ED7A4528986C}" presName="rootComposite1" presStyleCnt="0"/>
      <dgm:spPr/>
    </dgm:pt>
    <dgm:pt modelId="{52E4C291-F8F1-4F36-8B18-7529A0D32C6D}" type="pres">
      <dgm:prSet presAssocID="{0DD23B33-7BD0-4AB6-BF7A-ED7A4528986C}" presName="rootText1" presStyleLbl="node0" presStyleIdx="0" presStyleCnt="1" custScaleX="302075" custScaleY="147463" custLinFactNeighborX="4147" custLinFactNeighborY="-92501">
        <dgm:presLayoutVars>
          <dgm:chMax/>
          <dgm:chPref val="3"/>
        </dgm:presLayoutVars>
      </dgm:prSet>
      <dgm:spPr/>
    </dgm:pt>
    <dgm:pt modelId="{FE2E3BC8-533B-4E0F-98FA-E476A11683F9}" type="pres">
      <dgm:prSet presAssocID="{0DD23B33-7BD0-4AB6-BF7A-ED7A4528986C}" presName="titleText1" presStyleLbl="fgAcc0" presStyleIdx="0" presStyleCnt="1" custScaleX="194011" custScaleY="233759" custLinFactY="-97861" custLinFactNeighborX="-2021" custLinFactNeighborY="-100000">
        <dgm:presLayoutVars>
          <dgm:chMax val="0"/>
          <dgm:chPref val="0"/>
        </dgm:presLayoutVars>
      </dgm:prSet>
      <dgm:spPr/>
    </dgm:pt>
    <dgm:pt modelId="{A1DAA0CB-B20D-4DA7-96CD-7EF96404D578}" type="pres">
      <dgm:prSet presAssocID="{0DD23B33-7BD0-4AB6-BF7A-ED7A4528986C}" presName="rootConnector1" presStyleLbl="node1" presStyleIdx="0" presStyleCnt="4"/>
      <dgm:spPr/>
    </dgm:pt>
    <dgm:pt modelId="{5DB861E0-741D-4C1A-ADB3-4CA28F5DBC06}" type="pres">
      <dgm:prSet presAssocID="{0DD23B33-7BD0-4AB6-BF7A-ED7A4528986C}" presName="hierChild2" presStyleCnt="0"/>
      <dgm:spPr/>
    </dgm:pt>
    <dgm:pt modelId="{3D1BE921-D2B4-46DF-86D0-951C0C129EB5}" type="pres">
      <dgm:prSet presAssocID="{6460F51E-136B-407E-A2CA-6D5CA3C61B10}" presName="Name37" presStyleLbl="parChTrans1D2" presStyleIdx="0" presStyleCnt="4"/>
      <dgm:spPr/>
    </dgm:pt>
    <dgm:pt modelId="{6123F98D-5DF5-4B7C-A8A0-FBB7BB2262A5}" type="pres">
      <dgm:prSet presAssocID="{4225691D-CB3D-4E26-82B4-6EA743E41A4A}" presName="hierRoot2" presStyleCnt="0">
        <dgm:presLayoutVars>
          <dgm:hierBranch val="init"/>
        </dgm:presLayoutVars>
      </dgm:prSet>
      <dgm:spPr/>
    </dgm:pt>
    <dgm:pt modelId="{7A5B23A0-DACA-4CB1-8C74-697ACC5F5366}" type="pres">
      <dgm:prSet presAssocID="{4225691D-CB3D-4E26-82B4-6EA743E41A4A}" presName="rootComposite" presStyleCnt="0"/>
      <dgm:spPr/>
    </dgm:pt>
    <dgm:pt modelId="{19E5AE76-A7C5-43C3-82B8-2B6C421FD7AB}" type="pres">
      <dgm:prSet presAssocID="{4225691D-CB3D-4E26-82B4-6EA743E41A4A}" presName="rootText" presStyleLbl="node1" presStyleIdx="0" presStyleCnt="4" custScaleX="129992" custScaleY="124868" custLinFactNeighborX="1793" custLinFactNeighborY="-8672">
        <dgm:presLayoutVars>
          <dgm:chMax/>
          <dgm:chPref val="3"/>
        </dgm:presLayoutVars>
      </dgm:prSet>
      <dgm:spPr>
        <a:prstGeom prst="flowChartTerminator">
          <a:avLst/>
        </a:prstGeom>
      </dgm:spPr>
    </dgm:pt>
    <dgm:pt modelId="{1725720C-0055-4B3C-B4FE-485256EDE8C0}" type="pres">
      <dgm:prSet presAssocID="{4225691D-CB3D-4E26-82B4-6EA743E41A4A}" presName="titleText2" presStyleLbl="fgAcc1" presStyleIdx="0" presStyleCnt="4" custScaleX="131799" custScaleY="114839" custLinFactNeighborX="-24026" custLinFactNeighborY="93854">
        <dgm:presLayoutVars>
          <dgm:chMax val="0"/>
          <dgm:chPref val="0"/>
        </dgm:presLayoutVars>
      </dgm:prSet>
      <dgm:spPr/>
    </dgm:pt>
    <dgm:pt modelId="{E70E089C-1411-46AB-B38D-30589BF36F6B}" type="pres">
      <dgm:prSet presAssocID="{4225691D-CB3D-4E26-82B4-6EA743E41A4A}" presName="rootConnector" presStyleLbl="node2" presStyleIdx="0" presStyleCnt="0"/>
      <dgm:spPr/>
    </dgm:pt>
    <dgm:pt modelId="{F3A207F2-59CC-4F5A-8280-ED0437B2497B}" type="pres">
      <dgm:prSet presAssocID="{4225691D-CB3D-4E26-82B4-6EA743E41A4A}" presName="hierChild4" presStyleCnt="0"/>
      <dgm:spPr/>
    </dgm:pt>
    <dgm:pt modelId="{1CA08CD7-15C2-495F-AD4A-4BFE91E682C5}" type="pres">
      <dgm:prSet presAssocID="{4225691D-CB3D-4E26-82B4-6EA743E41A4A}" presName="hierChild5" presStyleCnt="0"/>
      <dgm:spPr/>
    </dgm:pt>
    <dgm:pt modelId="{C31B78FE-6E4B-4A6D-8172-FF88C24B8011}" type="pres">
      <dgm:prSet presAssocID="{F06BD54E-4E99-4022-97CC-75E4B48B5D2D}" presName="Name37" presStyleLbl="parChTrans1D2" presStyleIdx="1" presStyleCnt="4"/>
      <dgm:spPr/>
    </dgm:pt>
    <dgm:pt modelId="{3F8931FA-93B4-4C16-AFCD-D7D866056782}" type="pres">
      <dgm:prSet presAssocID="{4CBDF97E-CFE9-4AEF-ACF4-BA0FFC8DB8FA}" presName="hierRoot2" presStyleCnt="0">
        <dgm:presLayoutVars>
          <dgm:hierBranch val="init"/>
        </dgm:presLayoutVars>
      </dgm:prSet>
      <dgm:spPr/>
    </dgm:pt>
    <dgm:pt modelId="{FA1545C5-DEA5-446E-ABF4-8FC0C8005013}" type="pres">
      <dgm:prSet presAssocID="{4CBDF97E-CFE9-4AEF-ACF4-BA0FFC8DB8FA}" presName="rootComposite" presStyleCnt="0"/>
      <dgm:spPr/>
    </dgm:pt>
    <dgm:pt modelId="{E10FF97C-6679-48D6-8F35-DEFA8263F5FF}" type="pres">
      <dgm:prSet presAssocID="{4CBDF97E-CFE9-4AEF-ACF4-BA0FFC8DB8FA}" presName="rootText" presStyleLbl="node1" presStyleIdx="1" presStyleCnt="4" custScaleX="130620" custScaleY="123428" custLinFactNeighborX="-9850" custLinFactNeighborY="-6990">
        <dgm:presLayoutVars>
          <dgm:chMax/>
          <dgm:chPref val="3"/>
        </dgm:presLayoutVars>
      </dgm:prSet>
      <dgm:spPr>
        <a:prstGeom prst="flowChartTerminator">
          <a:avLst/>
        </a:prstGeom>
      </dgm:spPr>
    </dgm:pt>
    <dgm:pt modelId="{00BCCAE8-62A0-418B-A8D5-BDD4CF676CF1}" type="pres">
      <dgm:prSet presAssocID="{4CBDF97E-CFE9-4AEF-ACF4-BA0FFC8DB8FA}" presName="titleText2" presStyleLbl="fgAcc1" presStyleIdx="1" presStyleCnt="4" custScaleX="118547" custScaleY="147095" custLinFactY="6388" custLinFactNeighborX="-17472" custLinFactNeighborY="100000">
        <dgm:presLayoutVars>
          <dgm:chMax val="0"/>
          <dgm:chPref val="0"/>
        </dgm:presLayoutVars>
      </dgm:prSet>
      <dgm:spPr/>
    </dgm:pt>
    <dgm:pt modelId="{63A151F2-D40D-42B6-90F7-396A01C502EB}" type="pres">
      <dgm:prSet presAssocID="{4CBDF97E-CFE9-4AEF-ACF4-BA0FFC8DB8FA}" presName="rootConnector" presStyleLbl="node2" presStyleIdx="0" presStyleCnt="0"/>
      <dgm:spPr/>
    </dgm:pt>
    <dgm:pt modelId="{354C6BFA-F238-43D2-9D8E-1DEFD7016E77}" type="pres">
      <dgm:prSet presAssocID="{4CBDF97E-CFE9-4AEF-ACF4-BA0FFC8DB8FA}" presName="hierChild4" presStyleCnt="0"/>
      <dgm:spPr/>
    </dgm:pt>
    <dgm:pt modelId="{42A1ACDB-5796-4B1D-8F1D-B43F7BDAEB8C}" type="pres">
      <dgm:prSet presAssocID="{4CBDF97E-CFE9-4AEF-ACF4-BA0FFC8DB8FA}" presName="hierChild5" presStyleCnt="0"/>
      <dgm:spPr/>
    </dgm:pt>
    <dgm:pt modelId="{5C589D9F-644C-447B-9448-02556BECBEE8}" type="pres">
      <dgm:prSet presAssocID="{491A82FE-768B-428D-886B-E9A6747C536B}" presName="Name37" presStyleLbl="parChTrans1D2" presStyleIdx="2" presStyleCnt="4"/>
      <dgm:spPr/>
    </dgm:pt>
    <dgm:pt modelId="{000A7978-1F59-4B1A-B814-EA3625379002}" type="pres">
      <dgm:prSet presAssocID="{CB810DEE-3C8A-46E0-9599-CF67D3474CCE}" presName="hierRoot2" presStyleCnt="0">
        <dgm:presLayoutVars>
          <dgm:hierBranch val="init"/>
        </dgm:presLayoutVars>
      </dgm:prSet>
      <dgm:spPr/>
    </dgm:pt>
    <dgm:pt modelId="{4A39B514-3293-4E55-9193-498AE6923BC7}" type="pres">
      <dgm:prSet presAssocID="{CB810DEE-3C8A-46E0-9599-CF67D3474CCE}" presName="rootComposite" presStyleCnt="0"/>
      <dgm:spPr/>
    </dgm:pt>
    <dgm:pt modelId="{7BB85AD7-B297-4B71-9E79-BDB83E8301C5}" type="pres">
      <dgm:prSet presAssocID="{CB810DEE-3C8A-46E0-9599-CF67D3474CCE}" presName="rootText" presStyleLbl="node1" presStyleIdx="2" presStyleCnt="4" custScaleX="131254" custScaleY="123428" custLinFactNeighborX="-2382" custLinFactNeighborY="-8077">
        <dgm:presLayoutVars>
          <dgm:chMax/>
          <dgm:chPref val="3"/>
        </dgm:presLayoutVars>
      </dgm:prSet>
      <dgm:spPr>
        <a:prstGeom prst="flowChartTerminator">
          <a:avLst/>
        </a:prstGeom>
      </dgm:spPr>
    </dgm:pt>
    <dgm:pt modelId="{EEFF4D71-E8B8-433A-A9AF-F38AA5E92D8C}" type="pres">
      <dgm:prSet presAssocID="{CB810DEE-3C8A-46E0-9599-CF67D3474CCE}" presName="titleText2" presStyleLbl="fgAcc1" presStyleIdx="2" presStyleCnt="4" custScaleX="118547" custScaleY="147095" custLinFactY="5395" custLinFactNeighborX="-13030" custLinFactNeighborY="100000">
        <dgm:presLayoutVars>
          <dgm:chMax val="0"/>
          <dgm:chPref val="0"/>
        </dgm:presLayoutVars>
      </dgm:prSet>
      <dgm:spPr/>
    </dgm:pt>
    <dgm:pt modelId="{04BD23FD-B2F0-4D77-808A-A94A3313C001}" type="pres">
      <dgm:prSet presAssocID="{CB810DEE-3C8A-46E0-9599-CF67D3474CCE}" presName="rootConnector" presStyleLbl="node2" presStyleIdx="0" presStyleCnt="0"/>
      <dgm:spPr/>
    </dgm:pt>
    <dgm:pt modelId="{005131AE-BCC3-4313-A0F7-96412DB504C0}" type="pres">
      <dgm:prSet presAssocID="{CB810DEE-3C8A-46E0-9599-CF67D3474CCE}" presName="hierChild4" presStyleCnt="0"/>
      <dgm:spPr/>
    </dgm:pt>
    <dgm:pt modelId="{B9196AB4-B126-480C-B3AD-4B83752B0F7C}" type="pres">
      <dgm:prSet presAssocID="{CB810DEE-3C8A-46E0-9599-CF67D3474CCE}" presName="hierChild5" presStyleCnt="0"/>
      <dgm:spPr/>
    </dgm:pt>
    <dgm:pt modelId="{0B922CFE-5934-4A12-9CB1-A8BA61304B2E}" type="pres">
      <dgm:prSet presAssocID="{C3DCA95D-C7D5-4F98-8C87-818DD9A7BEF3}" presName="Name37" presStyleLbl="parChTrans1D2" presStyleIdx="3" presStyleCnt="4"/>
      <dgm:spPr/>
    </dgm:pt>
    <dgm:pt modelId="{11C9EC6C-550C-4455-89BE-EF99C3DF3A17}" type="pres">
      <dgm:prSet presAssocID="{79C7327E-E1A8-46C8-AC0B-71A853623ECB}" presName="hierRoot2" presStyleCnt="0">
        <dgm:presLayoutVars>
          <dgm:hierBranch val="init"/>
        </dgm:presLayoutVars>
      </dgm:prSet>
      <dgm:spPr/>
    </dgm:pt>
    <dgm:pt modelId="{33CAAD98-0563-489F-A5DE-BAF284528766}" type="pres">
      <dgm:prSet presAssocID="{79C7327E-E1A8-46C8-AC0B-71A853623ECB}" presName="rootComposite" presStyleCnt="0"/>
      <dgm:spPr/>
    </dgm:pt>
    <dgm:pt modelId="{999BF012-1CC6-4B4D-BC27-258D4AE24D56}" type="pres">
      <dgm:prSet presAssocID="{79C7327E-E1A8-46C8-AC0B-71A853623ECB}" presName="rootText" presStyleLbl="node1" presStyleIdx="3" presStyleCnt="4" custScaleX="126552" custScaleY="131385" custLinFactNeighborX="-2541" custLinFactNeighborY="-50754">
        <dgm:presLayoutVars>
          <dgm:chMax/>
          <dgm:chPref val="3"/>
        </dgm:presLayoutVars>
      </dgm:prSet>
      <dgm:spPr>
        <a:prstGeom prst="flowChartTerminator">
          <a:avLst/>
        </a:prstGeom>
      </dgm:spPr>
    </dgm:pt>
    <dgm:pt modelId="{B8C57275-6EFD-4B08-B87C-E42AED923A3D}" type="pres">
      <dgm:prSet presAssocID="{79C7327E-E1A8-46C8-AC0B-71A853623ECB}" presName="titleText2" presStyleLbl="fgAcc1" presStyleIdx="3" presStyleCnt="4" custScaleX="103045" custScaleY="209555" custLinFactNeighborX="-18770" custLinFactNeighborY="-21602">
        <dgm:presLayoutVars>
          <dgm:chMax val="0"/>
          <dgm:chPref val="0"/>
        </dgm:presLayoutVars>
      </dgm:prSet>
      <dgm:spPr/>
    </dgm:pt>
    <dgm:pt modelId="{A1994ADE-7B7E-4BE3-A626-3C762429943E}" type="pres">
      <dgm:prSet presAssocID="{79C7327E-E1A8-46C8-AC0B-71A853623ECB}" presName="rootConnector" presStyleLbl="node2" presStyleIdx="0" presStyleCnt="0"/>
      <dgm:spPr/>
    </dgm:pt>
    <dgm:pt modelId="{2B3099C8-A588-41A5-96D9-2FE8C2CD57FB}" type="pres">
      <dgm:prSet presAssocID="{79C7327E-E1A8-46C8-AC0B-71A853623ECB}" presName="hierChild4" presStyleCnt="0"/>
      <dgm:spPr/>
    </dgm:pt>
    <dgm:pt modelId="{0F1CF14F-9D24-4D6E-B2A6-F98046743C8E}" type="pres">
      <dgm:prSet presAssocID="{79C7327E-E1A8-46C8-AC0B-71A853623ECB}" presName="hierChild5" presStyleCnt="0"/>
      <dgm:spPr/>
    </dgm:pt>
    <dgm:pt modelId="{5B9B857F-4EE1-49ED-A259-10585CA26886}" type="pres">
      <dgm:prSet presAssocID="{0DD23B33-7BD0-4AB6-BF7A-ED7A4528986C}" presName="hierChild3" presStyleCnt="0"/>
      <dgm:spPr/>
    </dgm:pt>
  </dgm:ptLst>
  <dgm:cxnLst>
    <dgm:cxn modelId="{E5D60D0B-8327-4F40-AAFA-2C40710FB44D}" srcId="{0DD23B33-7BD0-4AB6-BF7A-ED7A4528986C}" destId="{4225691D-CB3D-4E26-82B4-6EA743E41A4A}" srcOrd="0" destOrd="0" parTransId="{6460F51E-136B-407E-A2CA-6D5CA3C61B10}" sibTransId="{9227E2D8-D461-4C5A-B28D-4B798E013A8A}"/>
    <dgm:cxn modelId="{00F40314-45DE-4FC2-BDE6-B369B3E3E13B}" srcId="{0DD23B33-7BD0-4AB6-BF7A-ED7A4528986C}" destId="{79C7327E-E1A8-46C8-AC0B-71A853623ECB}" srcOrd="3" destOrd="0" parTransId="{C3DCA95D-C7D5-4F98-8C87-818DD9A7BEF3}" sibTransId="{2BF976C2-BCC5-4665-B6E8-FE994049E517}"/>
    <dgm:cxn modelId="{D49DE31E-957B-4BDC-92F1-DA519D7190D2}" type="presOf" srcId="{0DD23B33-7BD0-4AB6-BF7A-ED7A4528986C}" destId="{A1DAA0CB-B20D-4DA7-96CD-7EF96404D578}" srcOrd="1" destOrd="0" presId="urn:microsoft.com/office/officeart/2008/layout/NameandTitleOrganizationalChart"/>
    <dgm:cxn modelId="{99227726-E603-440E-B236-F1F1903EC3FF}" srcId="{0DD23B33-7BD0-4AB6-BF7A-ED7A4528986C}" destId="{CB810DEE-3C8A-46E0-9599-CF67D3474CCE}" srcOrd="2" destOrd="0" parTransId="{491A82FE-768B-428D-886B-E9A6747C536B}" sibTransId="{8A358153-C84F-4040-8CD3-61FF30571681}"/>
    <dgm:cxn modelId="{DCC9FC38-6B8C-4C1F-BB14-FED27831A9B3}" type="presOf" srcId="{491A82FE-768B-428D-886B-E9A6747C536B}" destId="{5C589D9F-644C-447B-9448-02556BECBEE8}" srcOrd="0" destOrd="0" presId="urn:microsoft.com/office/officeart/2008/layout/NameandTitleOrganizationalChart"/>
    <dgm:cxn modelId="{7387C53D-EFA8-46DA-A1D8-F1AD95C803E6}" type="presOf" srcId="{9227E2D8-D461-4C5A-B28D-4B798E013A8A}" destId="{1725720C-0055-4B3C-B4FE-485256EDE8C0}" srcOrd="0" destOrd="0" presId="urn:microsoft.com/office/officeart/2008/layout/NameandTitleOrganizationalChart"/>
    <dgm:cxn modelId="{B45F8F42-6C17-4F53-AE9D-1291F86A2469}" type="presOf" srcId="{C8FC3399-5314-4DBF-8987-2C24B41462F2}" destId="{3CD97D01-653F-49B3-BA82-BBE9F8E0E0D4}" srcOrd="0" destOrd="0" presId="urn:microsoft.com/office/officeart/2008/layout/NameandTitleOrganizationalChart"/>
    <dgm:cxn modelId="{D34FDF43-AD15-4EA2-B52F-1130FC2A1532}" type="presOf" srcId="{79C7327E-E1A8-46C8-AC0B-71A853623ECB}" destId="{999BF012-1CC6-4B4D-BC27-258D4AE24D56}" srcOrd="0" destOrd="0" presId="urn:microsoft.com/office/officeart/2008/layout/NameandTitleOrganizationalChart"/>
    <dgm:cxn modelId="{5D9C0A47-26AE-4CD8-95DD-8B40F4C1E6D3}" type="presOf" srcId="{452869CF-DB6B-4F78-9E96-D53AD9827520}" destId="{00BCCAE8-62A0-418B-A8D5-BDD4CF676CF1}" srcOrd="0" destOrd="0" presId="urn:microsoft.com/office/officeart/2008/layout/NameandTitleOrganizationalChart"/>
    <dgm:cxn modelId="{CEC81B6C-ECA6-49D5-9B76-EAE3C55A8698}" type="presOf" srcId="{F06BD54E-4E99-4022-97CC-75E4B48B5D2D}" destId="{C31B78FE-6E4B-4A6D-8172-FF88C24B8011}" srcOrd="0" destOrd="0" presId="urn:microsoft.com/office/officeart/2008/layout/NameandTitleOrganizationalChart"/>
    <dgm:cxn modelId="{A7DC5470-ECED-486B-8FB7-5037BD170B68}" type="presOf" srcId="{4CBDF97E-CFE9-4AEF-ACF4-BA0FFC8DB8FA}" destId="{E10FF97C-6679-48D6-8F35-DEFA8263F5FF}" srcOrd="0" destOrd="0" presId="urn:microsoft.com/office/officeart/2008/layout/NameandTitleOrganizationalChart"/>
    <dgm:cxn modelId="{67A6D872-34D8-4CBF-8194-0EB197AF15E0}" type="presOf" srcId="{E43F7863-8C28-436F-AE37-5EFF154DBBD4}" destId="{FE2E3BC8-533B-4E0F-98FA-E476A11683F9}" srcOrd="0" destOrd="0" presId="urn:microsoft.com/office/officeart/2008/layout/NameandTitleOrganizationalChart"/>
    <dgm:cxn modelId="{05A20873-B526-449F-9A4F-AF17C6A1CFAB}" type="presOf" srcId="{6460F51E-136B-407E-A2CA-6D5CA3C61B10}" destId="{3D1BE921-D2B4-46DF-86D0-951C0C129EB5}" srcOrd="0" destOrd="0" presId="urn:microsoft.com/office/officeart/2008/layout/NameandTitleOrganizationalChart"/>
    <dgm:cxn modelId="{799E7859-8882-4EB8-8BCB-675A28F22E8B}" type="presOf" srcId="{CB810DEE-3C8A-46E0-9599-CF67D3474CCE}" destId="{04BD23FD-B2F0-4D77-808A-A94A3313C001}" srcOrd="1" destOrd="0" presId="urn:microsoft.com/office/officeart/2008/layout/NameandTitleOrganizationalChart"/>
    <dgm:cxn modelId="{CB40117C-F6B7-4413-8FCE-894CA8832DDD}" type="presOf" srcId="{4CBDF97E-CFE9-4AEF-ACF4-BA0FFC8DB8FA}" destId="{63A151F2-D40D-42B6-90F7-396A01C502EB}" srcOrd="1" destOrd="0" presId="urn:microsoft.com/office/officeart/2008/layout/NameandTitleOrganizationalChart"/>
    <dgm:cxn modelId="{9E69E899-F4E0-48CB-A1B2-BE3A2B2FED5E}" srcId="{0DD23B33-7BD0-4AB6-BF7A-ED7A4528986C}" destId="{4CBDF97E-CFE9-4AEF-ACF4-BA0FFC8DB8FA}" srcOrd="1" destOrd="0" parTransId="{F06BD54E-4E99-4022-97CC-75E4B48B5D2D}" sibTransId="{452869CF-DB6B-4F78-9E96-D53AD9827520}"/>
    <dgm:cxn modelId="{CD4FBC9C-5670-4459-ABDE-A5F11CCDAF29}" srcId="{C8FC3399-5314-4DBF-8987-2C24B41462F2}" destId="{0DD23B33-7BD0-4AB6-BF7A-ED7A4528986C}" srcOrd="0" destOrd="0" parTransId="{BB2BD4CF-9CE5-4424-97CB-517425803A14}" sibTransId="{E43F7863-8C28-436F-AE37-5EFF154DBBD4}"/>
    <dgm:cxn modelId="{62DF8CA0-6485-4E8F-B8D8-7B848684E20C}" type="presOf" srcId="{4225691D-CB3D-4E26-82B4-6EA743E41A4A}" destId="{19E5AE76-A7C5-43C3-82B8-2B6C421FD7AB}" srcOrd="0" destOrd="0" presId="urn:microsoft.com/office/officeart/2008/layout/NameandTitleOrganizationalChart"/>
    <dgm:cxn modelId="{27B2DFA6-8E89-46AF-A58E-40A36E69BB1E}" type="presOf" srcId="{8A358153-C84F-4040-8CD3-61FF30571681}" destId="{EEFF4D71-E8B8-433A-A9AF-F38AA5E92D8C}" srcOrd="0" destOrd="0" presId="urn:microsoft.com/office/officeart/2008/layout/NameandTitleOrganizationalChart"/>
    <dgm:cxn modelId="{E6950BCC-ED5D-441C-A128-6188654768F4}" type="presOf" srcId="{2BF976C2-BCC5-4665-B6E8-FE994049E517}" destId="{B8C57275-6EFD-4B08-B87C-E42AED923A3D}" srcOrd="0" destOrd="0" presId="urn:microsoft.com/office/officeart/2008/layout/NameandTitleOrganizationalChart"/>
    <dgm:cxn modelId="{7BF442DD-9CF7-40B8-A0E6-949C15811B88}" type="presOf" srcId="{CB810DEE-3C8A-46E0-9599-CF67D3474CCE}" destId="{7BB85AD7-B297-4B71-9E79-BDB83E8301C5}" srcOrd="0" destOrd="0" presId="urn:microsoft.com/office/officeart/2008/layout/NameandTitleOrganizationalChart"/>
    <dgm:cxn modelId="{9FDB9FE0-2A13-4691-A1FE-ABD7CB1998DF}" type="presOf" srcId="{C3DCA95D-C7D5-4F98-8C87-818DD9A7BEF3}" destId="{0B922CFE-5934-4A12-9CB1-A8BA61304B2E}" srcOrd="0" destOrd="0" presId="urn:microsoft.com/office/officeart/2008/layout/NameandTitleOrganizationalChart"/>
    <dgm:cxn modelId="{9EB492E1-03A5-4F21-A3FA-73B392A87997}" type="presOf" srcId="{0DD23B33-7BD0-4AB6-BF7A-ED7A4528986C}" destId="{52E4C291-F8F1-4F36-8B18-7529A0D32C6D}" srcOrd="0" destOrd="0" presId="urn:microsoft.com/office/officeart/2008/layout/NameandTitleOrganizationalChart"/>
    <dgm:cxn modelId="{EFF5D2EC-E677-447D-9949-EBC36B306910}" type="presOf" srcId="{4225691D-CB3D-4E26-82B4-6EA743E41A4A}" destId="{E70E089C-1411-46AB-B38D-30589BF36F6B}" srcOrd="1" destOrd="0" presId="urn:microsoft.com/office/officeart/2008/layout/NameandTitleOrganizationalChart"/>
    <dgm:cxn modelId="{70E489F1-ED90-48B2-AE7B-435D06BDE0CE}" type="presOf" srcId="{79C7327E-E1A8-46C8-AC0B-71A853623ECB}" destId="{A1994ADE-7B7E-4BE3-A626-3C762429943E}" srcOrd="1" destOrd="0" presId="urn:microsoft.com/office/officeart/2008/layout/NameandTitleOrganizationalChart"/>
    <dgm:cxn modelId="{0AA8B2A8-E7E3-41FC-956D-4FEADB68EC27}" type="presParOf" srcId="{3CD97D01-653F-49B3-BA82-BBE9F8E0E0D4}" destId="{11B28FE4-8451-4026-86D2-A7A90147F1E2}" srcOrd="0" destOrd="0" presId="urn:microsoft.com/office/officeart/2008/layout/NameandTitleOrganizationalChart"/>
    <dgm:cxn modelId="{B052BE75-2DAF-4ABB-B8C7-736AF4574A89}" type="presParOf" srcId="{11B28FE4-8451-4026-86D2-A7A90147F1E2}" destId="{2DB0E60E-CB7B-4D5B-929B-77C1FAC8D7E5}" srcOrd="0" destOrd="0" presId="urn:microsoft.com/office/officeart/2008/layout/NameandTitleOrganizationalChart"/>
    <dgm:cxn modelId="{A3C12746-C7DB-4BF3-9EB3-ED80B793AA1C}" type="presParOf" srcId="{2DB0E60E-CB7B-4D5B-929B-77C1FAC8D7E5}" destId="{52E4C291-F8F1-4F36-8B18-7529A0D32C6D}" srcOrd="0" destOrd="0" presId="urn:microsoft.com/office/officeart/2008/layout/NameandTitleOrganizationalChart"/>
    <dgm:cxn modelId="{6FB6F45F-DE9C-43B7-B768-D43E4DD71289}" type="presParOf" srcId="{2DB0E60E-CB7B-4D5B-929B-77C1FAC8D7E5}" destId="{FE2E3BC8-533B-4E0F-98FA-E476A11683F9}" srcOrd="1" destOrd="0" presId="urn:microsoft.com/office/officeart/2008/layout/NameandTitleOrganizationalChart"/>
    <dgm:cxn modelId="{B813E985-66B7-4477-8C36-68CB628A96B4}" type="presParOf" srcId="{2DB0E60E-CB7B-4D5B-929B-77C1FAC8D7E5}" destId="{A1DAA0CB-B20D-4DA7-96CD-7EF96404D578}" srcOrd="2" destOrd="0" presId="urn:microsoft.com/office/officeart/2008/layout/NameandTitleOrganizationalChart"/>
    <dgm:cxn modelId="{45DB436D-7D2E-48B9-94FF-8016BC570565}" type="presParOf" srcId="{11B28FE4-8451-4026-86D2-A7A90147F1E2}" destId="{5DB861E0-741D-4C1A-ADB3-4CA28F5DBC06}" srcOrd="1" destOrd="0" presId="urn:microsoft.com/office/officeart/2008/layout/NameandTitleOrganizationalChart"/>
    <dgm:cxn modelId="{D12CE79C-2E00-4E6D-9ECB-AC89C93DEA12}" type="presParOf" srcId="{5DB861E0-741D-4C1A-ADB3-4CA28F5DBC06}" destId="{3D1BE921-D2B4-46DF-86D0-951C0C129EB5}" srcOrd="0" destOrd="0" presId="urn:microsoft.com/office/officeart/2008/layout/NameandTitleOrganizationalChart"/>
    <dgm:cxn modelId="{1A62D8DD-DABB-41D0-85D1-4439F8473700}" type="presParOf" srcId="{5DB861E0-741D-4C1A-ADB3-4CA28F5DBC06}" destId="{6123F98D-5DF5-4B7C-A8A0-FBB7BB2262A5}" srcOrd="1" destOrd="0" presId="urn:microsoft.com/office/officeart/2008/layout/NameandTitleOrganizationalChart"/>
    <dgm:cxn modelId="{6315F983-DC60-470A-8E86-CFCBD0AC2B64}" type="presParOf" srcId="{6123F98D-5DF5-4B7C-A8A0-FBB7BB2262A5}" destId="{7A5B23A0-DACA-4CB1-8C74-697ACC5F5366}" srcOrd="0" destOrd="0" presId="urn:microsoft.com/office/officeart/2008/layout/NameandTitleOrganizationalChart"/>
    <dgm:cxn modelId="{4DF523AA-D424-4264-AA98-3F43389C924E}" type="presParOf" srcId="{7A5B23A0-DACA-4CB1-8C74-697ACC5F5366}" destId="{19E5AE76-A7C5-43C3-82B8-2B6C421FD7AB}" srcOrd="0" destOrd="0" presId="urn:microsoft.com/office/officeart/2008/layout/NameandTitleOrganizationalChart"/>
    <dgm:cxn modelId="{E5AD0833-A9A8-41A0-84E4-118808A082A7}" type="presParOf" srcId="{7A5B23A0-DACA-4CB1-8C74-697ACC5F5366}" destId="{1725720C-0055-4B3C-B4FE-485256EDE8C0}" srcOrd="1" destOrd="0" presId="urn:microsoft.com/office/officeart/2008/layout/NameandTitleOrganizationalChart"/>
    <dgm:cxn modelId="{039B305A-CACF-4160-8204-2C17794FAD89}" type="presParOf" srcId="{7A5B23A0-DACA-4CB1-8C74-697ACC5F5366}" destId="{E70E089C-1411-46AB-B38D-30589BF36F6B}" srcOrd="2" destOrd="0" presId="urn:microsoft.com/office/officeart/2008/layout/NameandTitleOrganizationalChart"/>
    <dgm:cxn modelId="{26E179C5-7DD2-4242-A9C5-71F688A1D56D}" type="presParOf" srcId="{6123F98D-5DF5-4B7C-A8A0-FBB7BB2262A5}" destId="{F3A207F2-59CC-4F5A-8280-ED0437B2497B}" srcOrd="1" destOrd="0" presId="urn:microsoft.com/office/officeart/2008/layout/NameandTitleOrganizationalChart"/>
    <dgm:cxn modelId="{DF9F5ED8-94BE-495B-9506-5B474BA3B152}" type="presParOf" srcId="{6123F98D-5DF5-4B7C-A8A0-FBB7BB2262A5}" destId="{1CA08CD7-15C2-495F-AD4A-4BFE91E682C5}" srcOrd="2" destOrd="0" presId="urn:microsoft.com/office/officeart/2008/layout/NameandTitleOrganizationalChart"/>
    <dgm:cxn modelId="{C0C5C6B7-7AC4-4D62-A6E3-1A00BA13F18C}" type="presParOf" srcId="{5DB861E0-741D-4C1A-ADB3-4CA28F5DBC06}" destId="{C31B78FE-6E4B-4A6D-8172-FF88C24B8011}" srcOrd="2" destOrd="0" presId="urn:microsoft.com/office/officeart/2008/layout/NameandTitleOrganizationalChart"/>
    <dgm:cxn modelId="{079013E0-31D2-4E81-AC66-3497864429E1}" type="presParOf" srcId="{5DB861E0-741D-4C1A-ADB3-4CA28F5DBC06}" destId="{3F8931FA-93B4-4C16-AFCD-D7D866056782}" srcOrd="3" destOrd="0" presId="urn:microsoft.com/office/officeart/2008/layout/NameandTitleOrganizationalChart"/>
    <dgm:cxn modelId="{7EA7A903-959D-4E4F-AE76-BF4735F83ADB}" type="presParOf" srcId="{3F8931FA-93B4-4C16-AFCD-D7D866056782}" destId="{FA1545C5-DEA5-446E-ABF4-8FC0C8005013}" srcOrd="0" destOrd="0" presId="urn:microsoft.com/office/officeart/2008/layout/NameandTitleOrganizationalChart"/>
    <dgm:cxn modelId="{5924ADED-176B-4A76-9461-F9E5AA78E565}" type="presParOf" srcId="{FA1545C5-DEA5-446E-ABF4-8FC0C8005013}" destId="{E10FF97C-6679-48D6-8F35-DEFA8263F5FF}" srcOrd="0" destOrd="0" presId="urn:microsoft.com/office/officeart/2008/layout/NameandTitleOrganizationalChart"/>
    <dgm:cxn modelId="{AA045D1B-2E3C-4D41-9034-D6FE39DA2C40}" type="presParOf" srcId="{FA1545C5-DEA5-446E-ABF4-8FC0C8005013}" destId="{00BCCAE8-62A0-418B-A8D5-BDD4CF676CF1}" srcOrd="1" destOrd="0" presId="urn:microsoft.com/office/officeart/2008/layout/NameandTitleOrganizationalChart"/>
    <dgm:cxn modelId="{20552230-5BE1-4CED-8E01-DA304314A615}" type="presParOf" srcId="{FA1545C5-DEA5-446E-ABF4-8FC0C8005013}" destId="{63A151F2-D40D-42B6-90F7-396A01C502EB}" srcOrd="2" destOrd="0" presId="urn:microsoft.com/office/officeart/2008/layout/NameandTitleOrganizationalChart"/>
    <dgm:cxn modelId="{14900255-B845-4790-8C1A-A90FC1D65DB7}" type="presParOf" srcId="{3F8931FA-93B4-4C16-AFCD-D7D866056782}" destId="{354C6BFA-F238-43D2-9D8E-1DEFD7016E77}" srcOrd="1" destOrd="0" presId="urn:microsoft.com/office/officeart/2008/layout/NameandTitleOrganizationalChart"/>
    <dgm:cxn modelId="{DBF76D00-EBE9-4BC6-883B-9B59C53ACF8A}" type="presParOf" srcId="{3F8931FA-93B4-4C16-AFCD-D7D866056782}" destId="{42A1ACDB-5796-4B1D-8F1D-B43F7BDAEB8C}" srcOrd="2" destOrd="0" presId="urn:microsoft.com/office/officeart/2008/layout/NameandTitleOrganizationalChart"/>
    <dgm:cxn modelId="{4092FBFB-E232-47DC-B030-4F680D65DD62}" type="presParOf" srcId="{5DB861E0-741D-4C1A-ADB3-4CA28F5DBC06}" destId="{5C589D9F-644C-447B-9448-02556BECBEE8}" srcOrd="4" destOrd="0" presId="urn:microsoft.com/office/officeart/2008/layout/NameandTitleOrganizationalChart"/>
    <dgm:cxn modelId="{5B2A2332-4FF7-4EF9-824F-FDF9FB22F79D}" type="presParOf" srcId="{5DB861E0-741D-4C1A-ADB3-4CA28F5DBC06}" destId="{000A7978-1F59-4B1A-B814-EA3625379002}" srcOrd="5" destOrd="0" presId="urn:microsoft.com/office/officeart/2008/layout/NameandTitleOrganizationalChart"/>
    <dgm:cxn modelId="{1E6B2951-AD68-4DF3-8D4F-1C1444545FF5}" type="presParOf" srcId="{000A7978-1F59-4B1A-B814-EA3625379002}" destId="{4A39B514-3293-4E55-9193-498AE6923BC7}" srcOrd="0" destOrd="0" presId="urn:microsoft.com/office/officeart/2008/layout/NameandTitleOrganizationalChart"/>
    <dgm:cxn modelId="{F4359322-5D00-4CD1-B79C-981E53010B26}" type="presParOf" srcId="{4A39B514-3293-4E55-9193-498AE6923BC7}" destId="{7BB85AD7-B297-4B71-9E79-BDB83E8301C5}" srcOrd="0" destOrd="0" presId="urn:microsoft.com/office/officeart/2008/layout/NameandTitleOrganizationalChart"/>
    <dgm:cxn modelId="{86A4EB88-2B3C-4403-AD6A-A3BD564AB31C}" type="presParOf" srcId="{4A39B514-3293-4E55-9193-498AE6923BC7}" destId="{EEFF4D71-E8B8-433A-A9AF-F38AA5E92D8C}" srcOrd="1" destOrd="0" presId="urn:microsoft.com/office/officeart/2008/layout/NameandTitleOrganizationalChart"/>
    <dgm:cxn modelId="{21BAFBBF-E9DD-4B32-A648-A8388301BBD0}" type="presParOf" srcId="{4A39B514-3293-4E55-9193-498AE6923BC7}" destId="{04BD23FD-B2F0-4D77-808A-A94A3313C001}" srcOrd="2" destOrd="0" presId="urn:microsoft.com/office/officeart/2008/layout/NameandTitleOrganizationalChart"/>
    <dgm:cxn modelId="{1813A592-B54D-4608-B31F-B5BE9CAFDEBA}" type="presParOf" srcId="{000A7978-1F59-4B1A-B814-EA3625379002}" destId="{005131AE-BCC3-4313-A0F7-96412DB504C0}" srcOrd="1" destOrd="0" presId="urn:microsoft.com/office/officeart/2008/layout/NameandTitleOrganizationalChart"/>
    <dgm:cxn modelId="{AD135853-5D17-4748-B442-A856D29C995E}" type="presParOf" srcId="{000A7978-1F59-4B1A-B814-EA3625379002}" destId="{B9196AB4-B126-480C-B3AD-4B83752B0F7C}" srcOrd="2" destOrd="0" presId="urn:microsoft.com/office/officeart/2008/layout/NameandTitleOrganizationalChart"/>
    <dgm:cxn modelId="{DDBB7C12-0F46-4941-8ABA-56662B3AAC4E}" type="presParOf" srcId="{5DB861E0-741D-4C1A-ADB3-4CA28F5DBC06}" destId="{0B922CFE-5934-4A12-9CB1-A8BA61304B2E}" srcOrd="6" destOrd="0" presId="urn:microsoft.com/office/officeart/2008/layout/NameandTitleOrganizationalChart"/>
    <dgm:cxn modelId="{B0BEB5F8-4491-4D92-BD41-07CC67D80811}" type="presParOf" srcId="{5DB861E0-741D-4C1A-ADB3-4CA28F5DBC06}" destId="{11C9EC6C-550C-4455-89BE-EF99C3DF3A17}" srcOrd="7" destOrd="0" presId="urn:microsoft.com/office/officeart/2008/layout/NameandTitleOrganizationalChart"/>
    <dgm:cxn modelId="{283D513A-4BEC-44E8-B459-6DE2DD59EC3A}" type="presParOf" srcId="{11C9EC6C-550C-4455-89BE-EF99C3DF3A17}" destId="{33CAAD98-0563-489F-A5DE-BAF284528766}" srcOrd="0" destOrd="0" presId="urn:microsoft.com/office/officeart/2008/layout/NameandTitleOrganizationalChart"/>
    <dgm:cxn modelId="{72781C25-7829-4EE3-8FA4-902BB6300CCA}" type="presParOf" srcId="{33CAAD98-0563-489F-A5DE-BAF284528766}" destId="{999BF012-1CC6-4B4D-BC27-258D4AE24D56}" srcOrd="0" destOrd="0" presId="urn:microsoft.com/office/officeart/2008/layout/NameandTitleOrganizationalChart"/>
    <dgm:cxn modelId="{9D5E613F-6035-41DF-9422-3166A15D86E0}" type="presParOf" srcId="{33CAAD98-0563-489F-A5DE-BAF284528766}" destId="{B8C57275-6EFD-4B08-B87C-E42AED923A3D}" srcOrd="1" destOrd="0" presId="urn:microsoft.com/office/officeart/2008/layout/NameandTitleOrganizationalChart"/>
    <dgm:cxn modelId="{15B48054-CFBC-4A1C-97B4-2F6F8A6CC0D1}" type="presParOf" srcId="{33CAAD98-0563-489F-A5DE-BAF284528766}" destId="{A1994ADE-7B7E-4BE3-A626-3C762429943E}" srcOrd="2" destOrd="0" presId="urn:microsoft.com/office/officeart/2008/layout/NameandTitleOrganizationalChart"/>
    <dgm:cxn modelId="{33D6EB33-08F9-4800-82C7-E75BF3C15208}" type="presParOf" srcId="{11C9EC6C-550C-4455-89BE-EF99C3DF3A17}" destId="{2B3099C8-A588-41A5-96D9-2FE8C2CD57FB}" srcOrd="1" destOrd="0" presId="urn:microsoft.com/office/officeart/2008/layout/NameandTitleOrganizationalChart"/>
    <dgm:cxn modelId="{28932F0E-DE46-411B-B2B5-28A4743C7193}" type="presParOf" srcId="{11C9EC6C-550C-4455-89BE-EF99C3DF3A17}" destId="{0F1CF14F-9D24-4D6E-B2A6-F98046743C8E}" srcOrd="2" destOrd="0" presId="urn:microsoft.com/office/officeart/2008/layout/NameandTitleOrganizationalChart"/>
    <dgm:cxn modelId="{EBB97B7A-B5FA-4BD1-9EF0-5931CE1BE166}" type="presParOf" srcId="{11B28FE4-8451-4026-86D2-A7A90147F1E2}" destId="{5B9B857F-4EE1-49ED-A259-10585CA26886}" srcOrd="2" destOrd="0" presId="urn:microsoft.com/office/officeart/2008/layout/NameandTitleOrganizationalChart"/>
  </dgm:cxnLst>
  <dgm:bg>
    <a:solidFill>
      <a:schemeClr val="bg1"/>
    </a:solidFill>
  </dgm:bg>
  <dgm:whole>
    <a:ln>
      <a:solidFill>
        <a:schemeClr val="dk2">
          <a:shade val="60000"/>
          <a:hueOff val="0"/>
          <a:satOff val="0"/>
          <a:lumOff val="0"/>
        </a:schemeClr>
      </a:solidFill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B922CFE-5934-4A12-9CB1-A8BA61304B2E}">
      <dsp:nvSpPr>
        <dsp:cNvPr id="0" name=""/>
        <dsp:cNvSpPr/>
      </dsp:nvSpPr>
      <dsp:spPr>
        <a:xfrm>
          <a:off x="5922166" y="1591915"/>
          <a:ext cx="4399297" cy="95878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30701"/>
              </a:lnTo>
              <a:lnTo>
                <a:pt x="4399297" y="730701"/>
              </a:lnTo>
              <a:lnTo>
                <a:pt x="4399297" y="958781"/>
              </a:lnTo>
            </a:path>
          </a:pathLst>
        </a:custGeom>
        <a:noFill/>
        <a:ln w="38100" cap="flat" cmpd="sng" algn="ctr">
          <a:solidFill>
            <a:srgbClr val="0070C0">
              <a:alpha val="69000"/>
            </a:srgbClr>
          </a:solidFill>
          <a:prstDash val="solid"/>
          <a:headEnd type="none" w="med" len="med"/>
          <a:tailEnd type="none" w="med" len="me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3">
          <a:schemeClr val="accent2"/>
        </a:lnRef>
        <a:fillRef idx="0">
          <a:schemeClr val="accent2"/>
        </a:fillRef>
        <a:effectRef idx="2">
          <a:schemeClr val="accent2"/>
        </a:effectRef>
        <a:fontRef idx="minor">
          <a:schemeClr val="tx1"/>
        </a:fontRef>
      </dsp:style>
    </dsp:sp>
    <dsp:sp modelId="{5C589D9F-644C-447B-9448-02556BECBEE8}">
      <dsp:nvSpPr>
        <dsp:cNvPr id="0" name=""/>
        <dsp:cNvSpPr/>
      </dsp:nvSpPr>
      <dsp:spPr>
        <a:xfrm>
          <a:off x="5922166" y="1591915"/>
          <a:ext cx="1461205" cy="137594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47863"/>
              </a:lnTo>
              <a:lnTo>
                <a:pt x="1461205" y="1147863"/>
              </a:lnTo>
              <a:lnTo>
                <a:pt x="1461205" y="1375943"/>
              </a:lnTo>
            </a:path>
          </a:pathLst>
        </a:custGeom>
        <a:noFill/>
        <a:ln w="47625" cap="flat" cmpd="sng" algn="ctr">
          <a:solidFill>
            <a:schemeClr val="dk1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hemeClr val="dk1"/>
        </a:lnRef>
        <a:fillRef idx="0">
          <a:schemeClr val="dk1"/>
        </a:fillRef>
        <a:effectRef idx="1">
          <a:schemeClr val="dk1"/>
        </a:effectRef>
        <a:fontRef idx="minor">
          <a:schemeClr val="tx1"/>
        </a:fontRef>
      </dsp:style>
    </dsp:sp>
    <dsp:sp modelId="{C31B78FE-6E4B-4A6D-8172-FF88C24B8011}">
      <dsp:nvSpPr>
        <dsp:cNvPr id="0" name=""/>
        <dsp:cNvSpPr/>
      </dsp:nvSpPr>
      <dsp:spPr>
        <a:xfrm>
          <a:off x="4256902" y="1591915"/>
          <a:ext cx="1665264" cy="1386568"/>
        </a:xfrm>
        <a:custGeom>
          <a:avLst/>
          <a:gdLst/>
          <a:ahLst/>
          <a:cxnLst/>
          <a:rect l="0" t="0" r="0" b="0"/>
          <a:pathLst>
            <a:path>
              <a:moveTo>
                <a:pt x="1665264" y="0"/>
              </a:moveTo>
              <a:lnTo>
                <a:pt x="1665264" y="1158488"/>
              </a:lnTo>
              <a:lnTo>
                <a:pt x="0" y="1158488"/>
              </a:lnTo>
              <a:lnTo>
                <a:pt x="0" y="1386568"/>
              </a:lnTo>
            </a:path>
          </a:pathLst>
        </a:custGeom>
        <a:noFill/>
        <a:ln w="254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D1BE921-D2B4-46DF-86D0-951C0C129EB5}">
      <dsp:nvSpPr>
        <dsp:cNvPr id="0" name=""/>
        <dsp:cNvSpPr/>
      </dsp:nvSpPr>
      <dsp:spPr>
        <a:xfrm>
          <a:off x="1384634" y="1591915"/>
          <a:ext cx="4537532" cy="1370127"/>
        </a:xfrm>
        <a:custGeom>
          <a:avLst/>
          <a:gdLst/>
          <a:ahLst/>
          <a:cxnLst/>
          <a:rect l="0" t="0" r="0" b="0"/>
          <a:pathLst>
            <a:path>
              <a:moveTo>
                <a:pt x="4537532" y="0"/>
              </a:moveTo>
              <a:lnTo>
                <a:pt x="4537532" y="1142047"/>
              </a:lnTo>
              <a:lnTo>
                <a:pt x="0" y="1142047"/>
              </a:lnTo>
              <a:lnTo>
                <a:pt x="0" y="1370127"/>
              </a:lnTo>
            </a:path>
          </a:pathLst>
        </a:custGeom>
        <a:noFill/>
        <a:ln w="47625" cap="flat" cmpd="sng" algn="ctr">
          <a:solidFill>
            <a:schemeClr val="dk1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2">
          <a:schemeClr val="dk1"/>
        </a:lnRef>
        <a:fillRef idx="0">
          <a:schemeClr val="dk1"/>
        </a:fillRef>
        <a:effectRef idx="1">
          <a:schemeClr val="dk1"/>
        </a:effectRef>
        <a:fontRef idx="minor">
          <a:schemeClr val="tx1"/>
        </a:fontRef>
      </dsp:style>
    </dsp:sp>
    <dsp:sp modelId="{52E4C291-F8F1-4F36-8B18-7529A0D32C6D}">
      <dsp:nvSpPr>
        <dsp:cNvPr id="0" name=""/>
        <dsp:cNvSpPr/>
      </dsp:nvSpPr>
      <dsp:spPr>
        <a:xfrm>
          <a:off x="3070684" y="150484"/>
          <a:ext cx="5702963" cy="1441430"/>
        </a:xfrm>
        <a:prstGeom prst="rect">
          <a:avLst/>
        </a:prstGeom>
        <a:solidFill>
          <a:srgbClr val="044E8A"/>
        </a:solidFill>
        <a:ln w="381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37934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         </a:t>
          </a:r>
          <a:r>
            <a:rPr lang="en-US" sz="3200" b="1" kern="1200" dirty="0"/>
            <a:t>Office of the Secretary</a:t>
          </a:r>
          <a:endParaRPr lang="en-US" sz="2400" b="1" kern="1200" dirty="0"/>
        </a:p>
      </dsp:txBody>
      <dsp:txXfrm>
        <a:off x="3070684" y="150484"/>
        <a:ext cx="5702963" cy="1441430"/>
      </dsp:txXfrm>
    </dsp:sp>
    <dsp:sp modelId="{FE2E3BC8-533B-4E0F-98FA-E476A11683F9}">
      <dsp:nvSpPr>
        <dsp:cNvPr id="0" name=""/>
        <dsp:cNvSpPr/>
      </dsp:nvSpPr>
      <dsp:spPr>
        <a:xfrm>
          <a:off x="4444467" y="1184308"/>
          <a:ext cx="3296512" cy="761654"/>
        </a:xfrm>
        <a:prstGeom prst="rect">
          <a:avLst/>
        </a:prstGeom>
        <a:solidFill>
          <a:schemeClr val="bg2">
            <a:lumMod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0800" tIns="12700" rIns="508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/>
            <a:t>Secretary of Veterans Affairs                                                                           Denis McDonough</a:t>
          </a:r>
        </a:p>
      </dsp:txBody>
      <dsp:txXfrm>
        <a:off x="4444467" y="1184308"/>
        <a:ext cx="3296512" cy="761654"/>
      </dsp:txXfrm>
    </dsp:sp>
    <dsp:sp modelId="{19E5AE76-A7C5-43C3-82B8-2B6C421FD7AB}">
      <dsp:nvSpPr>
        <dsp:cNvPr id="0" name=""/>
        <dsp:cNvSpPr/>
      </dsp:nvSpPr>
      <dsp:spPr>
        <a:xfrm>
          <a:off x="157555" y="2962042"/>
          <a:ext cx="2454157" cy="1220567"/>
        </a:xfrm>
        <a:prstGeom prst="flowChartTerminator">
          <a:avLst/>
        </a:prstGeom>
        <a:gradFill flip="none" rotWithShape="0">
          <a:gsLst>
            <a:gs pos="64000">
              <a:schemeClr val="bg1">
                <a:lumMod val="65000"/>
                <a:shade val="30000"/>
                <a:satMod val="115000"/>
              </a:schemeClr>
            </a:gs>
            <a:gs pos="100000">
              <a:schemeClr val="bg1">
                <a:lumMod val="65000"/>
                <a:shade val="67500"/>
                <a:satMod val="115000"/>
              </a:schemeClr>
            </a:gs>
            <a:gs pos="100000">
              <a:schemeClr val="bg1">
                <a:lumMod val="65000"/>
                <a:shade val="100000"/>
                <a:satMod val="115000"/>
              </a:schemeClr>
            </a:gs>
          </a:gsLst>
          <a:lin ang="5400000" scaled="1"/>
          <a:tileRect/>
        </a:gradFill>
        <a:ln w="381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/>
            <a:t>Veterans </a:t>
          </a:r>
          <a:br>
            <a:rPr lang="en-US" sz="2400" b="1" kern="1200" dirty="0"/>
          </a:br>
          <a:r>
            <a:rPr lang="en-US" sz="2400" b="1" kern="1200" dirty="0"/>
            <a:t>Health Administration </a:t>
          </a:r>
        </a:p>
      </dsp:txBody>
      <dsp:txXfrm>
        <a:off x="273219" y="3140776"/>
        <a:ext cx="2222829" cy="863099"/>
      </dsp:txXfrm>
    </dsp:sp>
    <dsp:sp modelId="{1725720C-0055-4B3C-B4FE-485256EDE8C0}">
      <dsp:nvSpPr>
        <dsp:cNvPr id="0" name=""/>
        <dsp:cNvSpPr/>
      </dsp:nvSpPr>
      <dsp:spPr>
        <a:xfrm>
          <a:off x="106016" y="4210246"/>
          <a:ext cx="2239445" cy="374178"/>
        </a:xfrm>
        <a:prstGeom prst="rect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420" tIns="14605" rIns="58420" bIns="14605" numCol="1" spcCol="1270" anchor="ctr" anchorCtr="0">
          <a:noAutofit/>
        </a:bodyPr>
        <a:lstStyle/>
        <a:p>
          <a:pPr marL="0" lvl="0" indent="0" algn="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300" kern="1200"/>
        </a:p>
      </dsp:txBody>
      <dsp:txXfrm>
        <a:off x="106016" y="4210246"/>
        <a:ext cx="2239445" cy="374178"/>
      </dsp:txXfrm>
    </dsp:sp>
    <dsp:sp modelId="{E10FF97C-6679-48D6-8F35-DEFA8263F5FF}">
      <dsp:nvSpPr>
        <dsp:cNvPr id="0" name=""/>
        <dsp:cNvSpPr/>
      </dsp:nvSpPr>
      <dsp:spPr>
        <a:xfrm>
          <a:off x="3023895" y="2978484"/>
          <a:ext cx="2466013" cy="1206491"/>
        </a:xfrm>
        <a:prstGeom prst="flowChartTerminator">
          <a:avLst/>
        </a:prstGeom>
        <a:gradFill flip="none" rotWithShape="0">
          <a:gsLst>
            <a:gs pos="69000">
              <a:schemeClr val="bg1">
                <a:lumMod val="65000"/>
                <a:shade val="30000"/>
                <a:satMod val="115000"/>
              </a:schemeClr>
            </a:gs>
            <a:gs pos="100000">
              <a:schemeClr val="bg1">
                <a:lumMod val="65000"/>
                <a:shade val="67500"/>
                <a:satMod val="115000"/>
              </a:schemeClr>
            </a:gs>
            <a:gs pos="100000">
              <a:schemeClr val="bg1">
                <a:lumMod val="65000"/>
                <a:shade val="100000"/>
                <a:satMod val="115000"/>
              </a:schemeClr>
            </a:gs>
          </a:gsLst>
          <a:lin ang="5400000" scaled="1"/>
          <a:tileRect/>
        </a:gradFill>
        <a:ln w="381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/>
            <a:t>Veterans </a:t>
          </a:r>
          <a:br>
            <a:rPr lang="en-US" sz="2400" b="1" kern="1200" dirty="0"/>
          </a:br>
          <a:r>
            <a:rPr lang="en-US" sz="2400" b="1" kern="1200" dirty="0"/>
            <a:t>Benefits Administration</a:t>
          </a:r>
        </a:p>
      </dsp:txBody>
      <dsp:txXfrm>
        <a:off x="3140117" y="3155157"/>
        <a:ext cx="2233569" cy="853145"/>
      </dsp:txXfrm>
    </dsp:sp>
    <dsp:sp modelId="{00BCCAE8-62A0-418B-A8D5-BDD4CF676CF1}">
      <dsp:nvSpPr>
        <dsp:cNvPr id="0" name=""/>
        <dsp:cNvSpPr/>
      </dsp:nvSpPr>
      <dsp:spPr>
        <a:xfrm>
          <a:off x="3422041" y="4191498"/>
          <a:ext cx="2014275" cy="479277"/>
        </a:xfrm>
        <a:prstGeom prst="rect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8890" rIns="3556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/>
        </a:p>
      </dsp:txBody>
      <dsp:txXfrm>
        <a:off x="3422041" y="4191498"/>
        <a:ext cx="2014275" cy="479277"/>
      </dsp:txXfrm>
    </dsp:sp>
    <dsp:sp modelId="{7BB85AD7-B297-4B71-9E79-BDB83E8301C5}">
      <dsp:nvSpPr>
        <dsp:cNvPr id="0" name=""/>
        <dsp:cNvSpPr/>
      </dsp:nvSpPr>
      <dsp:spPr>
        <a:xfrm>
          <a:off x="6144380" y="2967859"/>
          <a:ext cx="2477983" cy="1206491"/>
        </a:xfrm>
        <a:prstGeom prst="flowChartTerminator">
          <a:avLst/>
        </a:prstGeom>
        <a:gradFill flip="none" rotWithShape="0">
          <a:gsLst>
            <a:gs pos="70000">
              <a:schemeClr val="bg1">
                <a:lumMod val="65000"/>
                <a:shade val="30000"/>
                <a:satMod val="115000"/>
              </a:schemeClr>
            </a:gs>
            <a:gs pos="100000">
              <a:schemeClr val="bg1">
                <a:lumMod val="65000"/>
                <a:shade val="67500"/>
                <a:satMod val="115000"/>
              </a:schemeClr>
            </a:gs>
            <a:gs pos="100000">
              <a:schemeClr val="bg1">
                <a:lumMod val="65000"/>
                <a:shade val="100000"/>
                <a:satMod val="115000"/>
              </a:schemeClr>
            </a:gs>
          </a:gsLst>
          <a:lin ang="5400000" scaled="1"/>
          <a:tileRect/>
        </a:gradFill>
        <a:ln w="381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 dirty="0"/>
            <a:t>National Cemetery Administration </a:t>
          </a:r>
        </a:p>
      </dsp:txBody>
      <dsp:txXfrm>
        <a:off x="6261166" y="3144532"/>
        <a:ext cx="2244411" cy="853145"/>
      </dsp:txXfrm>
    </dsp:sp>
    <dsp:sp modelId="{EEFF4D71-E8B8-433A-A9AF-F38AA5E92D8C}">
      <dsp:nvSpPr>
        <dsp:cNvPr id="0" name=""/>
        <dsp:cNvSpPr/>
      </dsp:nvSpPr>
      <dsp:spPr>
        <a:xfrm>
          <a:off x="6482996" y="4188263"/>
          <a:ext cx="2014275" cy="479277"/>
        </a:xfrm>
        <a:prstGeom prst="rect">
          <a:avLst/>
        </a:prstGeom>
        <a:noFill/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60" tIns="8890" rIns="3556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/>
        </a:p>
      </dsp:txBody>
      <dsp:txXfrm>
        <a:off x="6482996" y="4188263"/>
        <a:ext cx="2014275" cy="479277"/>
      </dsp:txXfrm>
    </dsp:sp>
    <dsp:sp modelId="{999BF012-1CC6-4B4D-BC27-258D4AE24D56}">
      <dsp:nvSpPr>
        <dsp:cNvPr id="0" name=""/>
        <dsp:cNvSpPr/>
      </dsp:nvSpPr>
      <dsp:spPr>
        <a:xfrm>
          <a:off x="9126857" y="2550697"/>
          <a:ext cx="2389212" cy="1284270"/>
        </a:xfrm>
        <a:prstGeom prst="flowChartTerminator">
          <a:avLst/>
        </a:prstGeom>
        <a:solidFill>
          <a:schemeClr val="bg1">
            <a:lumMod val="75000"/>
          </a:schemeClr>
        </a:solidFill>
        <a:ln w="38100" cap="flat" cmpd="sng" algn="ctr">
          <a:solidFill>
            <a:schemeClr val="bg1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914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b="1" kern="1200" dirty="0">
              <a:solidFill>
                <a:schemeClr val="bg2">
                  <a:lumMod val="10000"/>
                </a:schemeClr>
              </a:solidFill>
            </a:rPr>
            <a:t>Board of </a:t>
          </a:r>
          <a:br>
            <a:rPr lang="en-US" sz="2200" b="1" kern="1200" dirty="0">
              <a:solidFill>
                <a:schemeClr val="bg2">
                  <a:lumMod val="10000"/>
                </a:schemeClr>
              </a:solidFill>
            </a:rPr>
          </a:br>
          <a:r>
            <a:rPr lang="en-US" sz="2200" b="1" kern="1200" dirty="0">
              <a:solidFill>
                <a:schemeClr val="bg2">
                  <a:lumMod val="10000"/>
                </a:schemeClr>
              </a:solidFill>
            </a:rPr>
            <a:t>Veterans’ </a:t>
          </a:r>
          <a:br>
            <a:rPr lang="en-US" sz="2200" b="1" kern="1200" dirty="0">
              <a:solidFill>
                <a:schemeClr val="bg2">
                  <a:lumMod val="10000"/>
                </a:schemeClr>
              </a:solidFill>
            </a:rPr>
          </a:br>
          <a:r>
            <a:rPr lang="en-US" sz="2200" b="1" kern="1200" dirty="0">
              <a:solidFill>
                <a:schemeClr val="bg2">
                  <a:lumMod val="10000"/>
                </a:schemeClr>
              </a:solidFill>
            </a:rPr>
            <a:t>Appeals</a:t>
          </a:r>
        </a:p>
      </dsp:txBody>
      <dsp:txXfrm>
        <a:off x="9239460" y="2738759"/>
        <a:ext cx="2164006" cy="908146"/>
      </dsp:txXfrm>
    </dsp:sp>
    <dsp:sp modelId="{B8C57275-6EFD-4B08-B87C-E42AED923A3D}">
      <dsp:nvSpPr>
        <dsp:cNvPr id="0" name=""/>
        <dsp:cNvSpPr/>
      </dsp:nvSpPr>
      <dsp:spPr>
        <a:xfrm>
          <a:off x="9458260" y="3711603"/>
          <a:ext cx="1750875" cy="682790"/>
        </a:xfrm>
        <a:prstGeom prst="rect">
          <a:avLst/>
        </a:prstGeom>
        <a:solidFill>
          <a:schemeClr val="bg2">
            <a:lumMod val="90000"/>
            <a:alpha val="9000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0800" tIns="12700" rIns="508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i="0" kern="1200" dirty="0"/>
            <a:t>Chairman </a:t>
          </a:r>
          <a:br>
            <a:rPr lang="en-US" sz="2000" b="1" i="0" kern="1200" dirty="0"/>
          </a:br>
          <a:r>
            <a:rPr lang="en-US" sz="2000" b="1" i="0" kern="1200" dirty="0"/>
            <a:t>Cheryl Mason </a:t>
          </a:r>
        </a:p>
      </dsp:txBody>
      <dsp:txXfrm>
        <a:off x="9458260" y="3711603"/>
        <a:ext cx="1750875" cy="68279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NameandTitleOrganizationalChart">
  <dgm:title val=""/>
  <dgm:desc val=""/>
  <dgm:catLst>
    <dgm:cat type="hierarchy" pri="125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Max/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h" fact="0.4"/>
              </dgm:constrLst>
              <dgm:ruleLst>
                <dgm:rule type="primFontSz" val="5" fact="NaN" max="NaN"/>
              </dgm:ruleLst>
            </dgm:layoutNode>
            <dgm:layoutNode name="titleText1" styleLbl="fgAcc0">
              <dgm:varLst>
                <dgm:chMax val="0"/>
                <dgm:chPref val="0"/>
              </dgm:varLst>
              <dgm:alg type="tx">
                <dgm:param type="parTxLTRAlign" val="r"/>
              </dgm:alg>
              <dgm:shape xmlns:r="http://schemas.openxmlformats.org/officeDocument/2006/relationships" type="rect" r:blip="">
                <dgm:adjLst/>
              </dgm:shape>
              <dgm:presOf axis="followSib" ptType="sibTrans" hideLastTrans="0" cnt="1"/>
              <dgm:constrLst>
                <dgm:constr type="primFontSz" val="65"/>
                <dgm:constr type="lMarg" refType="primFontSz" fact="0.2"/>
                <dgm:constr type="rMarg" refType="primFontSz" fact="0.2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1" func="var" arg="hierBranch" op="equ" val="hang">
                    <dgm:layoutNode name="Name42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3">
                    <dgm:layoutNode name="Name44">
                      <dgm:choose name="Name45">
                        <dgm:if name="Name46" axis="self" func="depth" op="lte" val="2">
                          <dgm:choose name="Name47">
                            <dgm:if name="Name4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4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0">
                          <dgm:choose name="Name51">
                            <dgm:if name="Name52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3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54">
                  <dgm:if name="Name55" func="var" arg="hierBranch" op="equ" val="l">
                    <dgm:choose name="Name56">
                      <dgm:if name="Name57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58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59" func="var" arg="hierBranch" op="equ" val="r">
                    <dgm:choose name="Name60">
                      <dgm:if name="Name61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2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3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64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65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66">
                    <dgm:if name="Name67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8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9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70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 styleLbl="node1">
                    <dgm:varLst>
                      <dgm:chMax/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2" styleLbl="fgAcc1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71">
                    <dgm:if name="Name72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73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74" func="var" arg="hierBranch" op="equ" val="hang">
                      <dgm:choose name="Name75">
                        <dgm:if name="Name76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77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78" func="var" arg="hierBranch" op="equ" val="std">
                      <dgm:choose name="Name79">
                        <dgm:if name="Name80" func="var" arg="dir" op="equ" val="norm">
                          <dgm:alg type="hierChild"/>
                        </dgm:if>
                        <dgm:else name="Name81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82" func="var" arg="hierBranch" op="equ" val="init">
                      <dgm:choose name="Name83">
                        <dgm:if name="Name84" func="var" arg="dir" op="equ" val="norm">
                          <dgm:alg type="hierChild"/>
                        </dgm:if>
                        <dgm:else name="Name85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else name="Name86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87" ref="rep2a"/>
                </dgm:layoutNode>
                <dgm:layoutNode name="hierChild5">
                  <dgm:choose name="Name88">
                    <dgm:if name="Name89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90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91" ref="rep2b"/>
                </dgm:layoutNode>
              </dgm:layoutNode>
            </dgm:forEach>
          </dgm:layoutNode>
          <dgm:layoutNode name="hierChild3">
            <dgm:choose name="Name92">
              <dgm:if name="Name93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94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95" axis="precedSib" ptType="parTrans" st="-1" cnt="1">
                <dgm:layoutNode name="Name96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97">
                  <dgm:if name="Name98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99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0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1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02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103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04">
                    <dgm:if name="Name105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6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7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08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 styleLbl="asst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3" styleLbl="fgAcc2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09">
                    <dgm:if name="Name110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11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12" func="var" arg="hierBranch" op="equ" val="hang">
                      <dgm:choose name="Name113">
                        <dgm:if name="Name114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15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16" func="var" arg="hierBranch" op="equ" val="std">
                      <dgm:choose name="Name117">
                        <dgm:if name="Name118" func="var" arg="dir" op="equ" val="norm">
                          <dgm:alg type="hierChild"/>
                        </dgm:if>
                        <dgm:else name="Name119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20" func="var" arg="hierBranch" op="equ" val="init">
                      <dgm:alg type="hierChild"/>
                    </dgm:if>
                    <dgm:else name="Name12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2" ref="rep2a"/>
                </dgm:layoutNode>
                <dgm:layoutNode name="hierChild7">
                  <dgm:choose name="Name123">
                    <dgm:if name="Name12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2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6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6148</cdr:x>
      <cdr:y>0.33854</cdr:y>
    </cdr:from>
    <cdr:to>
      <cdr:x>0.75256</cdr:x>
      <cdr:y>0.57311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A682C743-5CA2-4D2B-B293-163586ACDB62}"/>
            </a:ext>
          </a:extLst>
        </cdr:cNvPr>
        <cdr:cNvSpPr txBox="1"/>
      </cdr:nvSpPr>
      <cdr:spPr>
        <a:xfrm xmlns:a="http://schemas.openxmlformats.org/drawingml/2006/main">
          <a:off x="7008148" y="1088816"/>
          <a:ext cx="1570339" cy="75441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l"/>
          <a:r>
            <a:rPr lang="en-US" sz="2000" dirty="0">
              <a:solidFill>
                <a:schemeClr val="tx2">
                  <a:lumMod val="75000"/>
                </a:schemeClr>
              </a:solidFill>
            </a:rPr>
            <a:t>Require</a:t>
          </a:r>
          <a:r>
            <a:rPr lang="en-US" sz="2000" b="1" dirty="0">
              <a:solidFill>
                <a:schemeClr val="tx2">
                  <a:lumMod val="75000"/>
                </a:schemeClr>
              </a:solidFill>
            </a:rPr>
            <a:t> </a:t>
          </a:r>
          <a:r>
            <a:rPr lang="en-US" sz="2000" dirty="0">
              <a:solidFill>
                <a:schemeClr val="tx2">
                  <a:lumMod val="75000"/>
                </a:schemeClr>
              </a:solidFill>
            </a:rPr>
            <a:t>Hearing</a:t>
          </a:r>
        </a:p>
      </cdr:txBody>
    </cdr:sp>
  </cdr:relSizeAnchor>
  <cdr:relSizeAnchor xmlns:cdr="http://schemas.openxmlformats.org/drawingml/2006/chartDrawing">
    <cdr:from>
      <cdr:x>0.05372</cdr:x>
      <cdr:y>0.32082</cdr:y>
    </cdr:from>
    <cdr:to>
      <cdr:x>0.27633</cdr:x>
      <cdr:y>0.76115</cdr:y>
    </cdr:to>
    <cdr:sp macro="" textlink="">
      <cdr:nvSpPr>
        <cdr:cNvPr id="3" name="TextBox 2">
          <a:extLst xmlns:a="http://schemas.openxmlformats.org/drawingml/2006/main">
            <a:ext uri="{FF2B5EF4-FFF2-40B4-BE49-F238E27FC236}">
              <a16:creationId xmlns:a16="http://schemas.microsoft.com/office/drawing/2014/main" id="{DE13AE5E-8553-4BE7-8C1D-BED3B3F3D991}"/>
            </a:ext>
          </a:extLst>
        </cdr:cNvPr>
        <cdr:cNvSpPr txBox="1"/>
      </cdr:nvSpPr>
      <cdr:spPr>
        <a:xfrm xmlns:a="http://schemas.openxmlformats.org/drawingml/2006/main">
          <a:off x="632648" y="1617944"/>
          <a:ext cx="2621902" cy="222068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US" sz="1100" dirty="0"/>
        </a:p>
      </cdr:txBody>
    </cdr:sp>
  </cdr:relSizeAnchor>
  <cdr:relSizeAnchor xmlns:cdr="http://schemas.openxmlformats.org/drawingml/2006/chartDrawing">
    <cdr:from>
      <cdr:x>0.06322</cdr:x>
      <cdr:y>0.29861</cdr:y>
    </cdr:from>
    <cdr:to>
      <cdr:x>0.28029</cdr:x>
      <cdr:y>0.80555</cdr:y>
    </cdr:to>
    <cdr:sp macro="" textlink="">
      <cdr:nvSpPr>
        <cdr:cNvPr id="4" name="TextBox 3">
          <a:extLst xmlns:a="http://schemas.openxmlformats.org/drawingml/2006/main">
            <a:ext uri="{FF2B5EF4-FFF2-40B4-BE49-F238E27FC236}">
              <a16:creationId xmlns:a16="http://schemas.microsoft.com/office/drawing/2014/main" id="{1FDC242B-739B-4EB1-9052-8F28FE231AD1}"/>
            </a:ext>
          </a:extLst>
        </cdr:cNvPr>
        <cdr:cNvSpPr txBox="1"/>
      </cdr:nvSpPr>
      <cdr:spPr>
        <a:xfrm xmlns:a="http://schemas.openxmlformats.org/drawingml/2006/main">
          <a:off x="744615" y="1505977"/>
          <a:ext cx="2556588" cy="255658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US" sz="1100" dirty="0"/>
        </a:p>
      </cdr:txBody>
    </cdr:sp>
  </cdr:relSizeAnchor>
  <cdr:relSizeAnchor xmlns:cdr="http://schemas.openxmlformats.org/drawingml/2006/chartDrawing">
    <cdr:from>
      <cdr:x>0.24199</cdr:x>
      <cdr:y>0.47766</cdr:y>
    </cdr:from>
    <cdr:to>
      <cdr:x>0.38707</cdr:x>
      <cdr:y>0.70551</cdr:y>
    </cdr:to>
    <cdr:sp macro="" textlink="">
      <cdr:nvSpPr>
        <cdr:cNvPr id="5" name="TextBox 4">
          <a:extLst xmlns:a="http://schemas.openxmlformats.org/drawingml/2006/main">
            <a:ext uri="{FF2B5EF4-FFF2-40B4-BE49-F238E27FC236}">
              <a16:creationId xmlns:a16="http://schemas.microsoft.com/office/drawing/2014/main" id="{AC134DB8-6FDA-414D-8C77-6A97152059D2}"/>
            </a:ext>
          </a:extLst>
        </cdr:cNvPr>
        <cdr:cNvSpPr txBox="1"/>
      </cdr:nvSpPr>
      <cdr:spPr>
        <a:xfrm xmlns:a="http://schemas.openxmlformats.org/drawingml/2006/main">
          <a:off x="2758467" y="1536238"/>
          <a:ext cx="1653781" cy="73280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r"/>
          <a:r>
            <a:rPr lang="en-US" sz="2000" dirty="0">
              <a:solidFill>
                <a:schemeClr val="accent2">
                  <a:lumMod val="75000"/>
                </a:schemeClr>
              </a:solidFill>
            </a:rPr>
            <a:t>No Hearing Required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1"/>
          </a:xfrm>
          <a:prstGeom prst="rect">
            <a:avLst/>
          </a:prstGeom>
        </p:spPr>
        <p:txBody>
          <a:bodyPr vert="horz" lIns="93317" tIns="46659" rIns="93317" bIns="4665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7071"/>
          </a:xfrm>
          <a:prstGeom prst="rect">
            <a:avLst/>
          </a:prstGeom>
        </p:spPr>
        <p:txBody>
          <a:bodyPr vert="horz" lIns="93317" tIns="46659" rIns="93317" bIns="46659" rtlCol="0"/>
          <a:lstStyle>
            <a:lvl1pPr algn="r">
              <a:defRPr sz="1200"/>
            </a:lvl1pPr>
          </a:lstStyle>
          <a:p>
            <a:fld id="{FCA2E543-DEAD-4A47-BC83-EE5C4B311832}" type="datetimeFigureOut">
              <a:rPr lang="en-US" smtClean="0"/>
              <a:t>4/28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17" tIns="46659" rIns="93317" bIns="4665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80004"/>
            <a:ext cx="5618480" cy="3665459"/>
          </a:xfrm>
          <a:prstGeom prst="rect">
            <a:avLst/>
          </a:prstGeom>
        </p:spPr>
        <p:txBody>
          <a:bodyPr vert="horz" lIns="93317" tIns="46659" rIns="93317" bIns="4665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43343" cy="467070"/>
          </a:xfrm>
          <a:prstGeom prst="rect">
            <a:avLst/>
          </a:prstGeom>
        </p:spPr>
        <p:txBody>
          <a:bodyPr vert="horz" lIns="93317" tIns="46659" rIns="93317" bIns="4665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30"/>
            <a:ext cx="3043343" cy="467070"/>
          </a:xfrm>
          <a:prstGeom prst="rect">
            <a:avLst/>
          </a:prstGeom>
        </p:spPr>
        <p:txBody>
          <a:bodyPr vert="horz" lIns="93317" tIns="46659" rIns="93317" bIns="46659" rtlCol="0" anchor="b"/>
          <a:lstStyle>
            <a:lvl1pPr algn="r">
              <a:defRPr sz="1200"/>
            </a:lvl1pPr>
          </a:lstStyle>
          <a:p>
            <a:fld id="{84C9C085-A51E-48DC-B7D2-A27248A336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20321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9075" y="341313"/>
            <a:ext cx="7631113" cy="4292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3172">
              <a:defRPr/>
            </a:pPr>
            <a:fld id="{7DE02615-B5EC-45E8-9D56-46B81AB3CF35}" type="slidenum">
              <a:rPr lang="en-US">
                <a:solidFill>
                  <a:prstClr val="black"/>
                </a:solidFill>
                <a:latin typeface="Calibri"/>
              </a:rPr>
              <a:pPr defTabSz="933172">
                <a:defRPr/>
              </a:pPr>
              <a:t>1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175305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C9C085-A51E-48DC-B7D2-A27248A33669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50862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C9C085-A51E-48DC-B7D2-A27248A33669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50932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12B422-ADD4-4612-A80D-1D146D1ABDA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0" y="5376955"/>
            <a:ext cx="12192000" cy="14811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895120" y="4803734"/>
            <a:ext cx="7700433" cy="45053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80000"/>
              </a:lnSpc>
            </a:pPr>
            <a:r>
              <a:rPr lang="en-US" sz="2000">
                <a:solidFill>
                  <a:srgbClr val="000000"/>
                </a:solidFill>
              </a:rPr>
              <a:t>August 30, 2017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1714248" y="1694039"/>
            <a:ext cx="8763504" cy="1558035"/>
            <a:chOff x="966536" y="1694131"/>
            <a:chExt cx="6572628" cy="1558035"/>
          </a:xfrm>
        </p:grpSpPr>
        <p:sp>
          <p:nvSpPr>
            <p:cNvPr id="13" name="Title 1"/>
            <p:cNvSpPr txBox="1">
              <a:spLocks/>
            </p:cNvSpPr>
            <p:nvPr/>
          </p:nvSpPr>
          <p:spPr>
            <a:xfrm>
              <a:off x="966536" y="1763943"/>
              <a:ext cx="2133600" cy="1488223"/>
            </a:xfrm>
            <a:prstGeom prst="rect">
              <a:avLst/>
            </a:prstGeom>
            <a:ln>
              <a:solidFill>
                <a:schemeClr val="bg1"/>
              </a:solidFill>
            </a:ln>
            <a:effectLst/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80000"/>
                </a:lnSpc>
              </a:pPr>
              <a:r>
                <a:rPr lang="en-US" sz="11500" b="1" spc="-100">
                  <a:solidFill>
                    <a:srgbClr val="003F72">
                      <a:lumMod val="50000"/>
                    </a:srgbClr>
                  </a:solidFill>
                  <a:latin typeface="Myriad Pro"/>
                  <a:cs typeface="Arial" panose="020B0604020202020204" pitchFamily="34" charset="0"/>
                </a:rPr>
                <a:t>VA</a:t>
              </a:r>
            </a:p>
          </p:txBody>
        </p:sp>
        <p:sp>
          <p:nvSpPr>
            <p:cNvPr id="14" name="Title 1"/>
            <p:cNvSpPr txBox="1">
              <a:spLocks/>
            </p:cNvSpPr>
            <p:nvPr/>
          </p:nvSpPr>
          <p:spPr>
            <a:xfrm>
              <a:off x="3316705" y="1750278"/>
              <a:ext cx="4222459" cy="1307009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80000"/>
                </a:lnSpc>
              </a:pPr>
              <a:r>
                <a:rPr lang="en-US" sz="5400" b="1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ey Leaders </a:t>
              </a:r>
              <a:br>
                <a:rPr lang="en-US" sz="5400" b="1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5400" b="1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eeting</a:t>
              </a:r>
            </a:p>
          </p:txBody>
        </p:sp>
        <p:cxnSp>
          <p:nvCxnSpPr>
            <p:cNvPr id="15" name="Straight Connector 14"/>
            <p:cNvCxnSpPr/>
            <p:nvPr/>
          </p:nvCxnSpPr>
          <p:spPr>
            <a:xfrm flipH="1">
              <a:off x="3172326" y="1694131"/>
              <a:ext cx="12032" cy="1280160"/>
            </a:xfrm>
            <a:prstGeom prst="line">
              <a:avLst/>
            </a:prstGeom>
            <a:ln w="22225" cmpd="sng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26" name="Picture 2" descr="C:\Users\vacoGrovem\AppData\Local\Microsoft\Windows\Temporary Internet Files\Content.Outlook\83QVOJUE\CHOOSE-VA-rev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05825" y="5825561"/>
            <a:ext cx="3380620" cy="8699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028635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5376955"/>
            <a:ext cx="12192000" cy="14811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6" name="Title 1"/>
          <p:cNvSpPr txBox="1">
            <a:spLocks/>
          </p:cNvSpPr>
          <p:nvPr userDrawn="1"/>
        </p:nvSpPr>
        <p:spPr>
          <a:xfrm>
            <a:off x="3895120" y="4803734"/>
            <a:ext cx="7700433" cy="450535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80000"/>
              </a:lnSpc>
            </a:pPr>
            <a:r>
              <a:rPr lang="en-US" sz="2000">
                <a:solidFill>
                  <a:srgbClr val="000000"/>
                </a:solidFill>
              </a:rPr>
              <a:t>August 30, 2017</a:t>
            </a: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1714248" y="1694039"/>
            <a:ext cx="8763504" cy="1558035"/>
            <a:chOff x="966536" y="1694131"/>
            <a:chExt cx="6572628" cy="1558035"/>
          </a:xfrm>
        </p:grpSpPr>
        <p:sp>
          <p:nvSpPr>
            <p:cNvPr id="13" name="Title 1"/>
            <p:cNvSpPr txBox="1">
              <a:spLocks/>
            </p:cNvSpPr>
            <p:nvPr/>
          </p:nvSpPr>
          <p:spPr>
            <a:xfrm>
              <a:off x="966536" y="1763943"/>
              <a:ext cx="2133600" cy="1488223"/>
            </a:xfrm>
            <a:prstGeom prst="rect">
              <a:avLst/>
            </a:prstGeom>
            <a:ln>
              <a:solidFill>
                <a:schemeClr val="bg1"/>
              </a:solidFill>
            </a:ln>
            <a:effectLst/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80000"/>
                </a:lnSpc>
              </a:pPr>
              <a:r>
                <a:rPr lang="en-US" sz="11500" b="1" spc="-100">
                  <a:solidFill>
                    <a:srgbClr val="003F72">
                      <a:lumMod val="50000"/>
                    </a:srgbClr>
                  </a:solidFill>
                  <a:latin typeface="Myriad Pro"/>
                  <a:cs typeface="Arial" panose="020B0604020202020204" pitchFamily="34" charset="0"/>
                </a:rPr>
                <a:t>VA</a:t>
              </a:r>
            </a:p>
          </p:txBody>
        </p:sp>
        <p:sp>
          <p:nvSpPr>
            <p:cNvPr id="14" name="Title 1"/>
            <p:cNvSpPr txBox="1">
              <a:spLocks/>
            </p:cNvSpPr>
            <p:nvPr/>
          </p:nvSpPr>
          <p:spPr>
            <a:xfrm>
              <a:off x="3316705" y="1750278"/>
              <a:ext cx="4222459" cy="1307009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80000"/>
                </a:lnSpc>
              </a:pPr>
              <a:r>
                <a:rPr lang="en-US" sz="5400" b="1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ey Leaders </a:t>
              </a:r>
              <a:br>
                <a:rPr lang="en-US" sz="5400" b="1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5400" b="1">
                  <a:solidFill>
                    <a:srgbClr val="00B0F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eeting</a:t>
              </a:r>
            </a:p>
          </p:txBody>
        </p:sp>
        <p:cxnSp>
          <p:nvCxnSpPr>
            <p:cNvPr id="15" name="Straight Connector 14"/>
            <p:cNvCxnSpPr/>
            <p:nvPr/>
          </p:nvCxnSpPr>
          <p:spPr>
            <a:xfrm flipH="1">
              <a:off x="3172326" y="1694131"/>
              <a:ext cx="12032" cy="1280160"/>
            </a:xfrm>
            <a:prstGeom prst="line">
              <a:avLst/>
            </a:prstGeom>
            <a:ln w="22225" cmpd="sng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26" name="Picture 2" descr="C:\Users\vacoGrovem\AppData\Local\Microsoft\Windows\Temporary Internet Files\Content.Outlook\83QVOJUE\CHOOSE-VA-rev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8400" y="5553070"/>
            <a:ext cx="4064000" cy="10977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17610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-76200"/>
            <a:ext cx="12192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12192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 sz="3600"/>
              <a:t>Agenda</a:t>
            </a:r>
            <a:endParaRPr lang="en-US" sz="3600" u="sng"/>
          </a:p>
        </p:txBody>
      </p:sp>
      <p:sp>
        <p:nvSpPr>
          <p:cNvPr id="6" name="TextBox 5"/>
          <p:cNvSpPr txBox="1"/>
          <p:nvPr userDrawn="1"/>
        </p:nvSpPr>
        <p:spPr>
          <a:xfrm>
            <a:off x="441832" y="1659466"/>
            <a:ext cx="11308337" cy="369332"/>
          </a:xfrm>
          <a:prstGeom prst="rect">
            <a:avLst/>
          </a:prstGeom>
          <a:solidFill>
            <a:srgbClr val="00B0F0"/>
          </a:solidFill>
        </p:spPr>
        <p:txBody>
          <a:bodyPr wrap="square" lIns="91440" tIns="45720" rIns="91440" bIns="45720" rtlCol="0">
            <a:spAutoFit/>
          </a:bodyPr>
          <a:lstStyle/>
          <a:p>
            <a:endParaRPr lang="en-US" sz="180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863591" y="2749897"/>
            <a:ext cx="10522964" cy="861774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spAutoFit/>
          </a:bodyPr>
          <a:lstStyle/>
          <a:p>
            <a:pPr marL="0" lvl="1" indent="-342900">
              <a:spcBef>
                <a:spcPts val="1200"/>
              </a:spcBef>
              <a:buFont typeface="+mj-lt"/>
              <a:buAutoNum type="arabicPeriod"/>
            </a:pPr>
            <a:r>
              <a:rPr lang="en-US" sz="2000" b="1">
                <a:solidFill>
                  <a:srgbClr val="000000"/>
                </a:solidFill>
              </a:rPr>
              <a:t>Good News Story</a:t>
            </a:r>
          </a:p>
          <a:p>
            <a:pPr marL="0" lvl="1">
              <a:spcBef>
                <a:spcPts val="1200"/>
              </a:spcBef>
            </a:pPr>
            <a:endParaRPr lang="en-US" sz="2000" b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60403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-76200"/>
            <a:ext cx="12192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12192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 sz="3600" dirty="0"/>
              <a:t>Click to edit Slide Master Style</a:t>
            </a:r>
            <a:endParaRPr lang="en-US" sz="3600" u="sng" dirty="0"/>
          </a:p>
        </p:txBody>
      </p:sp>
    </p:spTree>
    <p:extLst>
      <p:ext uri="{BB962C8B-B14F-4D97-AF65-F5344CB8AC3E}">
        <p14:creationId xmlns:p14="http://schemas.microsoft.com/office/powerpoint/2010/main" val="9032600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520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9250441" y="640023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z="1200" smtClean="0">
                <a:solidFill>
                  <a:prstClr val="white"/>
                </a:solidFill>
              </a:rPr>
              <a:pPr/>
              <a:t>‹#›</a:t>
            </a:fld>
            <a:endParaRPr lang="en-US" sz="12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61934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990601"/>
            <a:ext cx="109728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-76200"/>
            <a:ext cx="12192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12192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 sz="3600" dirty="0"/>
              <a:t>Click to edit Slide Master Style</a:t>
            </a:r>
            <a:endParaRPr lang="en-US" sz="3600" u="sng" dirty="0"/>
          </a:p>
        </p:txBody>
      </p:sp>
    </p:spTree>
    <p:extLst>
      <p:ext uri="{BB962C8B-B14F-4D97-AF65-F5344CB8AC3E}">
        <p14:creationId xmlns:p14="http://schemas.microsoft.com/office/powerpoint/2010/main" val="330662537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-76200"/>
            <a:ext cx="12192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12192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 sz="3600" dirty="0"/>
              <a:t>Click to edit Slide Master Style</a:t>
            </a:r>
            <a:endParaRPr lang="en-US" sz="3600" u="sng" dirty="0"/>
          </a:p>
        </p:txBody>
      </p:sp>
    </p:spTree>
    <p:extLst>
      <p:ext uri="{BB962C8B-B14F-4D97-AF65-F5344CB8AC3E}">
        <p14:creationId xmlns:p14="http://schemas.microsoft.com/office/powerpoint/2010/main" val="46725729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7" y="273142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857" y="273056"/>
            <a:ext cx="6815668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7" y="1435106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96667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62763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875017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874FF2D-8B13-4563-AEE3-F4CD73A2E4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7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874FF2D-8B13-4563-AEE3-F4CD73A2E4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200">
                <a:latin typeface="+mj-lt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-76200"/>
            <a:ext cx="12192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8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12192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sz="3600"/>
              <a:t>Agenda</a:t>
            </a:r>
            <a:endParaRPr lang="en-US" sz="3600" u="sng"/>
          </a:p>
        </p:txBody>
      </p:sp>
      <p:sp>
        <p:nvSpPr>
          <p:cNvPr id="6" name="TextBox 5"/>
          <p:cNvSpPr txBox="1"/>
          <p:nvPr userDrawn="1"/>
        </p:nvSpPr>
        <p:spPr>
          <a:xfrm>
            <a:off x="441832" y="1659466"/>
            <a:ext cx="11308337" cy="369332"/>
          </a:xfrm>
          <a:prstGeom prst="rect">
            <a:avLst/>
          </a:prstGeom>
          <a:solidFill>
            <a:srgbClr val="00B0F0"/>
          </a:solidFill>
        </p:spPr>
        <p:txBody>
          <a:bodyPr wrap="square" lIns="91440" tIns="45720" rIns="91440" bIns="4572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80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863591" y="2749897"/>
            <a:ext cx="10522964" cy="861774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spAutoFit/>
          </a:bodyPr>
          <a:lstStyle/>
          <a:p>
            <a:pPr marL="0" lvl="1" indent="-342900" fontAlgn="base">
              <a:spcBef>
                <a:spcPts val="1200"/>
              </a:spcBef>
              <a:spcAft>
                <a:spcPct val="0"/>
              </a:spcAft>
              <a:buFont typeface="+mj-lt"/>
              <a:buAutoNum type="arabicPeriod"/>
            </a:pPr>
            <a:r>
              <a:rPr lang="en-US" sz="20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Good News Story</a:t>
            </a:r>
          </a:p>
          <a:p>
            <a:pPr marL="0" lvl="1" fontAlgn="base">
              <a:spcBef>
                <a:spcPts val="1200"/>
              </a:spcBef>
              <a:spcAft>
                <a:spcPct val="0"/>
              </a:spcAft>
            </a:pPr>
            <a:endParaRPr lang="en-US" sz="2000" b="1">
              <a:solidFill>
                <a:srgbClr val="000000"/>
              </a:solidFill>
              <a:latin typeface="Tahoma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92424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12B422-ADD4-4612-A80D-1D146D1ABDA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0" y="-76200"/>
            <a:ext cx="12192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12192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 sz="3600"/>
              <a:t>Agenda</a:t>
            </a:r>
            <a:endParaRPr lang="en-US" sz="3600" u="sng"/>
          </a:p>
        </p:txBody>
      </p:sp>
      <p:sp>
        <p:nvSpPr>
          <p:cNvPr id="6" name="TextBox 5"/>
          <p:cNvSpPr txBox="1"/>
          <p:nvPr/>
        </p:nvSpPr>
        <p:spPr>
          <a:xfrm>
            <a:off x="441832" y="1659466"/>
            <a:ext cx="11308337" cy="369332"/>
          </a:xfrm>
          <a:prstGeom prst="rect">
            <a:avLst/>
          </a:prstGeom>
          <a:solidFill>
            <a:srgbClr val="00B0F0"/>
          </a:solidFill>
        </p:spPr>
        <p:txBody>
          <a:bodyPr wrap="square" lIns="91440" tIns="45720" rIns="91440" bIns="45720" rtlCol="0">
            <a:spAutoFit/>
          </a:bodyPr>
          <a:lstStyle/>
          <a:p>
            <a:endParaRPr lang="en-US" sz="1800">
              <a:solidFill>
                <a:srgbClr val="0000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63591" y="2749897"/>
            <a:ext cx="10522964" cy="861774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spAutoFit/>
          </a:bodyPr>
          <a:lstStyle/>
          <a:p>
            <a:pPr marL="0" lvl="1" indent="-342900">
              <a:spcBef>
                <a:spcPts val="1200"/>
              </a:spcBef>
              <a:buFont typeface="+mj-lt"/>
              <a:buAutoNum type="arabicPeriod"/>
            </a:pPr>
            <a:r>
              <a:rPr lang="en-US" sz="2000" b="1">
                <a:solidFill>
                  <a:srgbClr val="000000"/>
                </a:solidFill>
              </a:rPr>
              <a:t>Good News Story</a:t>
            </a:r>
          </a:p>
          <a:p>
            <a:pPr marL="0" lvl="1">
              <a:spcBef>
                <a:spcPts val="1200"/>
              </a:spcBef>
            </a:pPr>
            <a:endParaRPr lang="en-US" sz="2000" b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51844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CD7BCEC-E989-4183-95E9-7A79BC90C6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CD7BCEC-E989-4183-95E9-7A79BC90C6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20B8E55-B9DB-4840-93D5-17A6AEA6222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6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latin typeface="+mj-lt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-76200"/>
            <a:ext cx="12192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8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12192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sz="3600"/>
              <a:t>Click to edit Slide Maser Style</a:t>
            </a:r>
            <a:endParaRPr lang="en-US" sz="3600" u="sng"/>
          </a:p>
        </p:txBody>
      </p:sp>
    </p:spTree>
    <p:extLst>
      <p:ext uri="{BB962C8B-B14F-4D97-AF65-F5344CB8AC3E}">
        <p14:creationId xmlns:p14="http://schemas.microsoft.com/office/powerpoint/2010/main" val="2058982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A232F51-047C-49B7-BCD6-1354248E32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5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A232F51-047C-49B7-BCD6-1354248E32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81907D9-2698-4DD3-B08E-45A9807BDF6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44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520"/>
            <a:ext cx="10363200" cy="1470025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72641650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0E658E0-7378-4E50-8854-190E0019B9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9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0E658E0-7378-4E50-8854-190E0019B9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304BA5F-7905-4062-975E-071EC675F8E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6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990601"/>
            <a:ext cx="10972800" cy="4525963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200">
                <a:latin typeface="+mj-lt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-76200"/>
            <a:ext cx="12192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8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12192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sz="3600" dirty="0"/>
              <a:t>Click to edit Slide Master Style</a:t>
            </a:r>
            <a:endParaRPr lang="en-US" sz="3600" u="sng" dirty="0"/>
          </a:p>
        </p:txBody>
      </p:sp>
    </p:spTree>
    <p:extLst>
      <p:ext uri="{BB962C8B-B14F-4D97-AF65-F5344CB8AC3E}">
        <p14:creationId xmlns:p14="http://schemas.microsoft.com/office/powerpoint/2010/main" val="26545237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91BECE9-3A03-40B9-9D97-28993E0926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3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91BECE9-3A03-40B9-9D97-28993E0926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869541E-D74D-49D9-AD8E-B0D36B9587D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6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200">
                <a:latin typeface="+mj-lt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-76200"/>
            <a:ext cx="12192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8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12192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sz="3600" dirty="0"/>
              <a:t>Click to edit Slide Master Style</a:t>
            </a:r>
            <a:endParaRPr lang="en-US" sz="3600" u="sng" dirty="0"/>
          </a:p>
        </p:txBody>
      </p:sp>
    </p:spTree>
    <p:extLst>
      <p:ext uri="{BB962C8B-B14F-4D97-AF65-F5344CB8AC3E}">
        <p14:creationId xmlns:p14="http://schemas.microsoft.com/office/powerpoint/2010/main" val="363262429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FC25711-35B1-4133-B684-918735DCA3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7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FC25711-35B1-4133-B684-918735DCA3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E0B27D3-E25C-4B1B-9972-D793A083F0E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0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7" y="273142"/>
            <a:ext cx="4011084" cy="1162051"/>
          </a:xfrm>
        </p:spPr>
        <p:txBody>
          <a:bodyPr anchor="b"/>
          <a:lstStyle>
            <a:lvl1pPr algn="l">
              <a:defRPr sz="2000" b="1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857" y="273056"/>
            <a:ext cx="6815668" cy="5853113"/>
          </a:xfrm>
        </p:spPr>
        <p:txBody>
          <a:bodyPr/>
          <a:lstStyle>
            <a:lvl1pPr>
              <a:defRPr sz="3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 sz="2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 sz="2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 sz="2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 sz="2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7" y="1435106"/>
            <a:ext cx="4011084" cy="4691063"/>
          </a:xfrm>
        </p:spPr>
        <p:txBody>
          <a:bodyPr/>
          <a:lstStyle>
            <a:lvl1pPr marL="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9250441" y="6400233"/>
            <a:ext cx="2844800" cy="365125"/>
          </a:xfrm>
        </p:spPr>
        <p:txBody>
          <a:bodyPr/>
          <a:lstStyle>
            <a:lvl1pPr>
              <a:defRPr sz="1200">
                <a:latin typeface="+mj-lt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309060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827574E-796D-4CCD-A810-09985F5FA7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1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827574E-796D-4CCD-A810-09985F5FA7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200">
                <a:latin typeface="+mj-lt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024243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0D7B790-6685-4B67-AD11-6D6DB6C5C4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5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0D7B790-6685-4B67-AD11-6D6DB6C5C4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480ABA3-F04C-474F-A0DC-5A00D1DA38C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44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51200" y="4953001"/>
            <a:ext cx="7315200" cy="365125"/>
          </a:xfrm>
          <a:prstGeom prst="rect">
            <a:avLst/>
          </a:prstGeom>
        </p:spPr>
        <p:txBody>
          <a:bodyPr lIns="91440" tIns="45720" rIns="91440" bIns="45720"/>
          <a:lstStyle>
            <a:lvl1pPr algn="ctr">
              <a:defRPr sz="105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200">
                <a:latin typeface="+mj-lt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818586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EBC2429-C0B1-4DCE-BF34-89AC6A17F6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9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EBC2429-C0B1-4DCE-BF34-89AC6A17F6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60A417E-E8F0-429A-817B-227FA876778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z="1200">
                <a:latin typeface="+mj-lt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673892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2A90704-342A-4203-AC59-484FA3C60E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3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2A90704-342A-4203-AC59-484FA3C60E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A8D4493-252F-404E-968C-2AC16788CB7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44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200">
                <a:latin typeface="+mj-lt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>
              <a:defRPr/>
            </a:pPr>
            <a:fld id="{6CE3B0C8-769F-4932-A783-54744893CC7C}" type="slidenum">
              <a:rPr lang="en-US" alt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 alt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83992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5376955"/>
            <a:ext cx="12192000" cy="14811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1714248" y="1694039"/>
            <a:ext cx="8763504" cy="1558035"/>
            <a:chOff x="966536" y="1694131"/>
            <a:chExt cx="6572628" cy="1558035"/>
          </a:xfrm>
        </p:grpSpPr>
        <p:sp>
          <p:nvSpPr>
            <p:cNvPr id="13" name="Title 1"/>
            <p:cNvSpPr txBox="1">
              <a:spLocks/>
            </p:cNvSpPr>
            <p:nvPr/>
          </p:nvSpPr>
          <p:spPr>
            <a:xfrm>
              <a:off x="966536" y="1763943"/>
              <a:ext cx="2133600" cy="1488223"/>
            </a:xfrm>
            <a:prstGeom prst="rect">
              <a:avLst/>
            </a:prstGeom>
            <a:ln>
              <a:solidFill>
                <a:schemeClr val="bg1"/>
              </a:solidFill>
            </a:ln>
            <a:effectLst/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80000"/>
                </a:lnSpc>
              </a:pPr>
              <a:r>
                <a:rPr lang="en-US" sz="11500" b="1" spc="-100">
                  <a:solidFill>
                    <a:srgbClr val="003F72">
                      <a:lumMod val="50000"/>
                    </a:srgbClr>
                  </a:solidFill>
                  <a:latin typeface="Myriad Pro"/>
                  <a:cs typeface="Arial" panose="020B0604020202020204" pitchFamily="34" charset="0"/>
                </a:rPr>
                <a:t>VA</a:t>
              </a:r>
            </a:p>
          </p:txBody>
        </p:sp>
        <p:sp>
          <p:nvSpPr>
            <p:cNvPr id="14" name="Title 1"/>
            <p:cNvSpPr txBox="1">
              <a:spLocks/>
            </p:cNvSpPr>
            <p:nvPr/>
          </p:nvSpPr>
          <p:spPr>
            <a:xfrm>
              <a:off x="3316705" y="1750278"/>
              <a:ext cx="4222459" cy="1307009"/>
            </a:xfrm>
            <a:prstGeom prst="rect">
              <a:avLst/>
            </a:prstGeom>
            <a:ln>
              <a:solidFill>
                <a:schemeClr val="bg1"/>
              </a:solidFill>
            </a:ln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80000"/>
                </a:lnSpc>
              </a:pPr>
              <a:endParaRPr lang="en-US" sz="5400" b="1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5" name="Straight Connector 14"/>
            <p:cNvCxnSpPr/>
            <p:nvPr/>
          </p:nvCxnSpPr>
          <p:spPr>
            <a:xfrm flipH="1">
              <a:off x="3172326" y="1694131"/>
              <a:ext cx="12032" cy="1280160"/>
            </a:xfrm>
            <a:prstGeom prst="line">
              <a:avLst/>
            </a:prstGeom>
            <a:ln w="22225" cmpd="sng">
              <a:solidFill>
                <a:schemeClr val="tx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26" name="Picture 2" descr="C:\Users\vacoGrovem\AppData\Local\Microsoft\Windows\Temporary Internet Files\Content.Outlook\83QVOJUE\CHOOSE-VA-rev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1552" y="5644912"/>
            <a:ext cx="4064000" cy="820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F3A0AE0A-18FB-478E-9081-08855AF620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60103" y="2054266"/>
            <a:ext cx="6941475" cy="820716"/>
          </a:xfrm>
        </p:spPr>
        <p:txBody>
          <a:bodyPr/>
          <a:lstStyle>
            <a:lvl1pPr marL="0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4782A60-152A-42A3-BE64-39B8A9444465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153765" y="4784384"/>
            <a:ext cx="6941475" cy="592571"/>
          </a:xfrm>
        </p:spPr>
        <p:txBody>
          <a:bodyPr>
            <a:normAutofit/>
          </a:bodyPr>
          <a:lstStyle>
            <a:lvl1pPr marL="0" indent="0" algn="r"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8886323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312B422-ADD4-4612-A80D-1D146D1ABDA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0" y="-76200"/>
            <a:ext cx="12192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12192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 sz="3600" dirty="0"/>
              <a:t>Click to edit Slide Master Style</a:t>
            </a:r>
            <a:endParaRPr lang="en-US" sz="3600" u="sng" dirty="0"/>
          </a:p>
        </p:txBody>
      </p:sp>
    </p:spTree>
    <p:extLst>
      <p:ext uri="{BB962C8B-B14F-4D97-AF65-F5344CB8AC3E}">
        <p14:creationId xmlns:p14="http://schemas.microsoft.com/office/powerpoint/2010/main" val="193393289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0E658E0-7378-4E50-8854-190E0019B9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5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0E658E0-7378-4E50-8854-190E0019B9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304BA5F-7905-4062-975E-071EC675F8E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6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990601"/>
            <a:ext cx="10972800" cy="4525963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200">
                <a:latin typeface="+mj-lt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-76200"/>
            <a:ext cx="12192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8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12192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sz="3600"/>
              <a:t>Click to edit Slide Maser Style</a:t>
            </a:r>
            <a:endParaRPr lang="en-US" sz="3600" u="sng"/>
          </a:p>
        </p:txBody>
      </p:sp>
    </p:spTree>
    <p:extLst>
      <p:ext uri="{BB962C8B-B14F-4D97-AF65-F5344CB8AC3E}">
        <p14:creationId xmlns:p14="http://schemas.microsoft.com/office/powerpoint/2010/main" val="105846258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-76200"/>
            <a:ext cx="12192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12192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 sz="3600"/>
              <a:t>Agenda</a:t>
            </a:r>
            <a:endParaRPr lang="en-US" sz="3600" u="sng"/>
          </a:p>
        </p:txBody>
      </p:sp>
    </p:spTree>
    <p:extLst>
      <p:ext uri="{BB962C8B-B14F-4D97-AF65-F5344CB8AC3E}">
        <p14:creationId xmlns:p14="http://schemas.microsoft.com/office/powerpoint/2010/main" val="397956835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-76200"/>
            <a:ext cx="12192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12192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 sz="3600"/>
              <a:t>Click to edit Slide Maser Style</a:t>
            </a:r>
            <a:endParaRPr lang="en-US" sz="3600" u="sng"/>
          </a:p>
        </p:txBody>
      </p:sp>
    </p:spTree>
    <p:extLst>
      <p:ext uri="{BB962C8B-B14F-4D97-AF65-F5344CB8AC3E}">
        <p14:creationId xmlns:p14="http://schemas.microsoft.com/office/powerpoint/2010/main" val="23413934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520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9250441" y="640023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z="1200" smtClean="0">
                <a:solidFill>
                  <a:prstClr val="white"/>
                </a:solidFill>
              </a:rPr>
              <a:pPr/>
              <a:t>‹#›</a:t>
            </a:fld>
            <a:endParaRPr lang="en-US" sz="12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285468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990601"/>
            <a:ext cx="109728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-76200"/>
            <a:ext cx="12192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12192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 sz="3600" dirty="0"/>
              <a:t>Click to edit Slide Master Style</a:t>
            </a:r>
            <a:endParaRPr lang="en-US" sz="3600" u="sng" dirty="0"/>
          </a:p>
        </p:txBody>
      </p:sp>
    </p:spTree>
    <p:extLst>
      <p:ext uri="{BB962C8B-B14F-4D97-AF65-F5344CB8AC3E}">
        <p14:creationId xmlns:p14="http://schemas.microsoft.com/office/powerpoint/2010/main" val="51187225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0" y="-76200"/>
            <a:ext cx="12192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12192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 sz="3600"/>
              <a:t>Click to edit Slide Maser Style</a:t>
            </a:r>
            <a:endParaRPr lang="en-US" sz="3600" u="sng"/>
          </a:p>
        </p:txBody>
      </p:sp>
    </p:spTree>
    <p:extLst>
      <p:ext uri="{BB962C8B-B14F-4D97-AF65-F5344CB8AC3E}">
        <p14:creationId xmlns:p14="http://schemas.microsoft.com/office/powerpoint/2010/main" val="154076545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7" y="273142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857" y="273056"/>
            <a:ext cx="6815668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7" y="1435106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045771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152178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226368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0E658E0-7378-4E50-8854-190E0019B9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51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0E658E0-7378-4E50-8854-190E0019B9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304BA5F-7905-4062-975E-071EC675F8E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3600" b="1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990601"/>
            <a:ext cx="10972800" cy="4525963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200">
                <a:latin typeface="+mn-lt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-76200"/>
            <a:ext cx="12192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8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12192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sz="3600"/>
              <a:t>Click to edit Slide Maser Style</a:t>
            </a:r>
            <a:endParaRPr lang="en-US" sz="3600" u="sng"/>
          </a:p>
        </p:txBody>
      </p:sp>
    </p:spTree>
    <p:extLst>
      <p:ext uri="{BB962C8B-B14F-4D97-AF65-F5344CB8AC3E}">
        <p14:creationId xmlns:p14="http://schemas.microsoft.com/office/powerpoint/2010/main" val="27178690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520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9250441" y="640023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z="1200" smtClean="0">
                <a:solidFill>
                  <a:prstClr val="white"/>
                </a:solidFill>
              </a:rPr>
              <a:pPr/>
              <a:t>‹#›</a:t>
            </a:fld>
            <a:endParaRPr lang="en-US" sz="12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56642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990601"/>
            <a:ext cx="109728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12B422-ADD4-4612-A80D-1D146D1ABDA8}" type="slidenum">
              <a:rPr lang="en-US" smtClean="0"/>
              <a:t>‹#›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-76200"/>
            <a:ext cx="12192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12192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 sz="3600" dirty="0"/>
              <a:t>Click to edit Slide Master Style</a:t>
            </a:r>
            <a:endParaRPr lang="en-US" sz="3600" u="sng" dirty="0"/>
          </a:p>
        </p:txBody>
      </p:sp>
    </p:spTree>
    <p:extLst>
      <p:ext uri="{BB962C8B-B14F-4D97-AF65-F5344CB8AC3E}">
        <p14:creationId xmlns:p14="http://schemas.microsoft.com/office/powerpoint/2010/main" val="13568181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12B422-ADD4-4612-A80D-1D146D1ABDA8}" type="slidenum">
              <a:rPr lang="en-US" smtClean="0"/>
              <a:t>‹#›</a:t>
            </a:fld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0" y="-76200"/>
            <a:ext cx="12192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0" y="-76200"/>
            <a:ext cx="12192000" cy="731520"/>
          </a:xfrm>
        </p:spPr>
        <p:txBody>
          <a:bodyPr>
            <a:normAutofit/>
          </a:bodyPr>
          <a:lstStyle>
            <a:lvl1pPr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en-US" sz="3600" dirty="0"/>
              <a:t>Click to edit Slide Master Style</a:t>
            </a:r>
            <a:endParaRPr lang="en-US" sz="3600" u="sng" dirty="0"/>
          </a:p>
        </p:txBody>
      </p:sp>
    </p:spTree>
    <p:extLst>
      <p:ext uri="{BB962C8B-B14F-4D97-AF65-F5344CB8AC3E}">
        <p14:creationId xmlns:p14="http://schemas.microsoft.com/office/powerpoint/2010/main" val="28335187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7" y="273142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857" y="273056"/>
            <a:ext cx="6815668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7" y="1435106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12B422-ADD4-4612-A80D-1D146D1ABD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0093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12B422-ADD4-4612-A80D-1D146D1ABD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01425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12B422-ADD4-4612-A80D-1D146D1ABD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79773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14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tags" Target="../tags/tag1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vmlDrawing" Target="../drawings/vmlDrawing1.v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0.xml"/><Relationship Id="rId16" Type="http://schemas.openxmlformats.org/officeDocument/2006/relationships/image" Target="../media/image4.emf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3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tags" Target="../tags/tag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94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140681"/>
            <a:ext cx="12192000" cy="7318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82400" y="6324037"/>
            <a:ext cx="51284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0312B422-ADD4-4612-A80D-1D146D1ABDA8}" type="slidenum">
              <a:rPr lang="en-US" smtClean="0"/>
              <a:t>‹#›</a:t>
            </a:fld>
            <a:endParaRPr lang="en-US"/>
          </a:p>
        </p:txBody>
      </p:sp>
      <p:pic>
        <p:nvPicPr>
          <p:cNvPr id="2050" name="Picture 2" descr="C:\Users\vacoGrovem\AppData\Local\Microsoft\Windows\Temporary Internet Files\Content.Outlook\83QVOJUE\CHOOSE-VA-rev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200" y="6164524"/>
            <a:ext cx="1958975" cy="5563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 descr="PPSeal.png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6320" y="6181234"/>
            <a:ext cx="2629320" cy="650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21539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94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140681"/>
            <a:ext cx="12192000" cy="7318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82400" y="6324037"/>
            <a:ext cx="51284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2" name="Picture 2" descr="C:\Users\vacoGrovem\AppData\Local\Microsoft\Windows\Temporary Internet Files\Content.Outlook\83QVOJUE\CHOOSE-VA-rev.png">
            <a:extLst>
              <a:ext uri="{FF2B5EF4-FFF2-40B4-BE49-F238E27FC236}">
                <a16:creationId xmlns:a16="http://schemas.microsoft.com/office/drawing/2014/main" id="{70925B01-43F4-4DA3-93FD-5A60FA231C7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200" y="6220673"/>
            <a:ext cx="1958975" cy="500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 descr="PPSeal.png">
            <a:extLst>
              <a:ext uri="{FF2B5EF4-FFF2-40B4-BE49-F238E27FC236}">
                <a16:creationId xmlns:a16="http://schemas.microsoft.com/office/drawing/2014/main" id="{EB0D5BA8-C3D0-4D84-8435-63A2BDC3362F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32520" y="6191531"/>
            <a:ext cx="2553120" cy="637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17094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4DD5BDD-0EF3-4EAE-81F4-BCDCDBD76F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3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4DD5BDD-0EF3-4EAE-81F4-BCDCDBD76F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1DFEA488-B13E-4BE4-9DB4-BEFF8A810035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44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94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140681"/>
            <a:ext cx="12192000" cy="7318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8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50441" y="640023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  <a:latin typeface="+mj-lt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B1FB390-1747-40D3-92C6-1C90C2EB3779}"/>
              </a:ext>
            </a:extLst>
          </p:cNvPr>
          <p:cNvSpPr/>
          <p:nvPr userDrawn="1"/>
        </p:nvSpPr>
        <p:spPr>
          <a:xfrm>
            <a:off x="0" y="-76200"/>
            <a:ext cx="12192000" cy="7315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 sz="18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2" name="Picture 2" descr="C:\Users\vacoGrovem\AppData\Local\Microsoft\Windows\Temporary Internet Files\Content.Outlook\83QVOJUE\CHOOSE-VA-rev.png">
            <a:extLst>
              <a:ext uri="{FF2B5EF4-FFF2-40B4-BE49-F238E27FC236}">
                <a16:creationId xmlns:a16="http://schemas.microsoft.com/office/drawing/2014/main" id="{C9916C73-4204-4AC7-BB21-3A64D490DE9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200" y="6279318"/>
            <a:ext cx="1958975" cy="4415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 descr="PPSeal.png">
            <a:extLst>
              <a:ext uri="{FF2B5EF4-FFF2-40B4-BE49-F238E27FC236}">
                <a16:creationId xmlns:a16="http://schemas.microsoft.com/office/drawing/2014/main" id="{834AEBE2-370E-4EC4-BF85-D6FA4AB31AD2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6375" y="6220673"/>
            <a:ext cx="2553120" cy="556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9777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94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140681"/>
            <a:ext cx="12192000" cy="7318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l" defTabSz="457200"/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							</a:t>
            </a:r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82400" y="6400233"/>
            <a:ext cx="51284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pic>
        <p:nvPicPr>
          <p:cNvPr id="12" name="Picture 2" descr="C:\Users\vacoGrovem\AppData\Local\Microsoft\Windows\Temporary Internet Files\Content.Outlook\83QVOJUE\CHOOSE-VA-rev.png">
            <a:extLst>
              <a:ext uri="{FF2B5EF4-FFF2-40B4-BE49-F238E27FC236}">
                <a16:creationId xmlns:a16="http://schemas.microsoft.com/office/drawing/2014/main" id="{7789CC1A-8506-4905-98B2-7591B8EF365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200" y="6279318"/>
            <a:ext cx="1958975" cy="4415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 descr="PPSeal.png">
            <a:extLst>
              <a:ext uri="{FF2B5EF4-FFF2-40B4-BE49-F238E27FC236}">
                <a16:creationId xmlns:a16="http://schemas.microsoft.com/office/drawing/2014/main" id="{78812BD7-8A9F-42A9-911B-0824BD5AACA1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6375" y="6220673"/>
            <a:ext cx="2553120" cy="556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74286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5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image" Target="../media/image7.jpeg"/><Relationship Id="rId7" Type="http://schemas.openxmlformats.org/officeDocument/2006/relationships/image" Target="../media/image11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image" Target="../media/image8.jpeg"/><Relationship Id="rId9" Type="http://schemas.openxmlformats.org/officeDocument/2006/relationships/image" Target="../media/image13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chart" Target="../charts/char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ubtitle 12"/>
          <p:cNvSpPr>
            <a:spLocks noGrp="1"/>
          </p:cNvSpPr>
          <p:nvPr>
            <p:ph type="subTitle" idx="1"/>
          </p:nvPr>
        </p:nvSpPr>
        <p:spPr>
          <a:xfrm>
            <a:off x="1524000" y="3791317"/>
            <a:ext cx="9144000" cy="1407226"/>
          </a:xfrm>
        </p:spPr>
        <p:txBody>
          <a:bodyPr vert="horz" lIns="91440" tIns="45720" rIns="91440" bIns="45720" rtlCol="0" anchor="t">
            <a:normAutofit fontScale="62500" lnSpcReduction="20000"/>
          </a:bodyPr>
          <a:lstStyle/>
          <a:p>
            <a:r>
              <a:rPr lang="en-US" b="1" dirty="0">
                <a:solidFill>
                  <a:schemeClr val="bg1">
                    <a:lumMod val="50000"/>
                  </a:schemeClr>
                </a:solidFill>
                <a:latin typeface="Myriad Pro" panose="020B0503030403020204"/>
                <a:cs typeface="Arial" panose="020B0604020202020204" pitchFamily="34" charset="0"/>
              </a:rPr>
              <a:t> </a:t>
            </a:r>
          </a:p>
          <a:p>
            <a:r>
              <a:rPr lang="en-US" sz="6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Myriad Pro" panose="020B0503030403020204"/>
                <a:cs typeface="Arial"/>
              </a:rPr>
              <a:t>Command Brief - Spring 2022</a:t>
            </a:r>
            <a:endParaRPr lang="en-US" sz="6000" b="1" dirty="0">
              <a:solidFill>
                <a:schemeClr val="tx1">
                  <a:lumMod val="50000"/>
                  <a:lumOff val="50000"/>
                </a:schemeClr>
              </a:solidFill>
              <a:latin typeface="Myriad Pro" panose="020B0503030403020204"/>
              <a:cs typeface="Arial" panose="020B0604020202020204" pitchFamily="34" charset="0"/>
            </a:endParaRPr>
          </a:p>
          <a:p>
            <a:r>
              <a:rPr lang="en-US" sz="5000" dirty="0">
                <a:solidFill>
                  <a:schemeClr val="bg1">
                    <a:lumMod val="50000"/>
                  </a:schemeClr>
                </a:solidFill>
                <a:latin typeface="Myriad Pro" panose="020B0503030403020204"/>
                <a:cs typeface="Arial" panose="020B0604020202020204" pitchFamily="34" charset="0"/>
              </a:rPr>
              <a:t>Presented by Chairman Cheryl Mason</a:t>
            </a:r>
          </a:p>
          <a:p>
            <a:endParaRPr lang="en-US" sz="5000" b="1" dirty="0">
              <a:solidFill>
                <a:schemeClr val="bg1">
                  <a:lumMod val="50000"/>
                </a:schemeClr>
              </a:solidFill>
              <a:latin typeface="Myriad Pro" panose="020B0503030403020204"/>
              <a:cs typeface="Arial" panose="020B0604020202020204" pitchFamily="34" charset="0"/>
            </a:endParaRPr>
          </a:p>
          <a:p>
            <a:endParaRPr lang="en-US" sz="5000" b="1" dirty="0">
              <a:solidFill>
                <a:schemeClr val="bg1">
                  <a:lumMod val="50000"/>
                </a:schemeClr>
              </a:solidFill>
              <a:latin typeface="Myriad Pro" panose="020B0503030403020204"/>
              <a:cs typeface="Arial" panose="020B0604020202020204" pitchFamily="34" charset="0"/>
            </a:endParaRPr>
          </a:p>
          <a:p>
            <a:endParaRPr lang="en-US" sz="5000" b="1" dirty="0">
              <a:solidFill>
                <a:schemeClr val="bg1">
                  <a:lumMod val="50000"/>
                </a:schemeClr>
              </a:solidFill>
              <a:latin typeface="Myriad Pro" panose="020B0503030403020204"/>
              <a:cs typeface="Arial" panose="020B0604020202020204" pitchFamily="34" charset="0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461639" y="608922"/>
            <a:ext cx="11654215" cy="3512682"/>
            <a:chOff x="515678" y="1495169"/>
            <a:chExt cx="9495900" cy="2971800"/>
          </a:xfrm>
        </p:grpSpPr>
        <p:sp>
          <p:nvSpPr>
            <p:cNvPr id="6" name="Title 1"/>
            <p:cNvSpPr txBox="1">
              <a:spLocks/>
            </p:cNvSpPr>
            <p:nvPr/>
          </p:nvSpPr>
          <p:spPr>
            <a:xfrm>
              <a:off x="2921247" y="2776155"/>
              <a:ext cx="4693756" cy="1400431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/>
            </a:bodyPr>
            <a:lstStyle>
              <a:lvl1pPr algn="ctr" defTabSz="4572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l">
                <a:lnSpc>
                  <a:spcPct val="80000"/>
                </a:lnSpc>
              </a:pPr>
              <a:endParaRPr lang="en-US">
                <a:solidFill>
                  <a:srgbClr val="0083BE"/>
                </a:solidFill>
                <a:latin typeface="Myriad Pro"/>
              </a:endParaRPr>
            </a:p>
          </p:txBody>
        </p:sp>
        <p:sp>
          <p:nvSpPr>
            <p:cNvPr id="2" name="Rectangle 1"/>
            <p:cNvSpPr/>
            <p:nvPr/>
          </p:nvSpPr>
          <p:spPr>
            <a:xfrm>
              <a:off x="3538054" y="2638483"/>
              <a:ext cx="6473524" cy="1275887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pPr algn="ctr"/>
              <a:r>
                <a:rPr lang="en-US" sz="4600" b="1">
                  <a:solidFill>
                    <a:srgbClr val="0C559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Myriad Pro" panose="020B0503030403020204"/>
                </a:rPr>
                <a:t>Board of Veterans’ Appeals </a:t>
              </a:r>
              <a:endParaRPr lang="en-US" sz="4600" b="1">
                <a:solidFill>
                  <a:srgbClr val="0C5591"/>
                </a:solidFill>
                <a:latin typeface="Calibri"/>
                <a:cs typeface="Calibri"/>
              </a:endParaRPr>
            </a:p>
          </p:txBody>
        </p:sp>
        <p:sp>
          <p:nvSpPr>
            <p:cNvPr id="7" name="Title 11"/>
            <p:cNvSpPr txBox="1">
              <a:spLocks/>
            </p:cNvSpPr>
            <p:nvPr/>
          </p:nvSpPr>
          <p:spPr>
            <a:xfrm>
              <a:off x="515678" y="1495169"/>
              <a:ext cx="3280371" cy="2971800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Autofit/>
            </a:bodyPr>
            <a:lstStyle>
              <a:lvl1pPr algn="ctr" defTabSz="457200" rtl="0" eaLnBrk="1" latinLnBrk="0" hangingPunct="1"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sz="13800" b="1">
                  <a:solidFill>
                    <a:srgbClr val="000000"/>
                  </a:solidFill>
                  <a:latin typeface="Myriad Pro" panose="020B0503030403020204"/>
                  <a:cs typeface="Arial" panose="020B0604020202020204" pitchFamily="34" charset="0"/>
                </a:rPr>
                <a:t>VA</a:t>
              </a:r>
              <a:endParaRPr lang="en-US" sz="2000">
                <a:solidFill>
                  <a:srgbClr val="000000"/>
                </a:solidFill>
                <a:latin typeface="Myriad Pro" panose="020B0503030403020204"/>
                <a:cs typeface="Arial" panose="020B0604020202020204" pitchFamily="34" charset="0"/>
              </a:endParaRPr>
            </a:p>
          </p:txBody>
        </p:sp>
        <p:cxnSp>
          <p:nvCxnSpPr>
            <p:cNvPr id="4" name="Straight Connector 3"/>
            <p:cNvCxnSpPr/>
            <p:nvPr/>
          </p:nvCxnSpPr>
          <p:spPr>
            <a:xfrm>
              <a:off x="3438340" y="2333369"/>
              <a:ext cx="0" cy="1295399"/>
            </a:xfrm>
            <a:prstGeom prst="line">
              <a:avLst/>
            </a:prstGeom>
            <a:ln w="63500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92695130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8545E4-7E40-4466-98C2-3B6E403B99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AMA Claims &amp; Appeal Receipts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9EFD6386-312D-410F-BC14-0AABFF1B731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14686685"/>
              </p:ext>
            </p:extLst>
          </p:nvPr>
        </p:nvGraphicFramePr>
        <p:xfrm>
          <a:off x="1260411" y="655320"/>
          <a:ext cx="9782736" cy="28957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" name="Table 4">
            <a:extLst>
              <a:ext uri="{FF2B5EF4-FFF2-40B4-BE49-F238E27FC236}">
                <a16:creationId xmlns:a16="http://schemas.microsoft.com/office/drawing/2014/main" id="{65A41C30-1883-4C56-8E1F-D4DAE4220E8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6041462"/>
              </p:ext>
            </p:extLst>
          </p:nvPr>
        </p:nvGraphicFramePr>
        <p:xfrm>
          <a:off x="976543" y="3640627"/>
          <a:ext cx="10066603" cy="164592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913237">
                  <a:extLst>
                    <a:ext uri="{9D8B030D-6E8A-4147-A177-3AD203B41FA5}">
                      <a16:colId xmlns:a16="http://schemas.microsoft.com/office/drawing/2014/main" val="3174221717"/>
                    </a:ext>
                  </a:extLst>
                </a:gridCol>
                <a:gridCol w="1578807">
                  <a:extLst>
                    <a:ext uri="{9D8B030D-6E8A-4147-A177-3AD203B41FA5}">
                      <a16:colId xmlns:a16="http://schemas.microsoft.com/office/drawing/2014/main" val="1207876492"/>
                    </a:ext>
                  </a:extLst>
                </a:gridCol>
                <a:gridCol w="1885496">
                  <a:extLst>
                    <a:ext uri="{9D8B030D-6E8A-4147-A177-3AD203B41FA5}">
                      <a16:colId xmlns:a16="http://schemas.microsoft.com/office/drawing/2014/main" val="1647907454"/>
                    </a:ext>
                  </a:extLst>
                </a:gridCol>
                <a:gridCol w="1894560">
                  <a:extLst>
                    <a:ext uri="{9D8B030D-6E8A-4147-A177-3AD203B41FA5}">
                      <a16:colId xmlns:a16="http://schemas.microsoft.com/office/drawing/2014/main" val="1248407684"/>
                    </a:ext>
                  </a:extLst>
                </a:gridCol>
                <a:gridCol w="1885496">
                  <a:extLst>
                    <a:ext uri="{9D8B030D-6E8A-4147-A177-3AD203B41FA5}">
                      <a16:colId xmlns:a16="http://schemas.microsoft.com/office/drawing/2014/main" val="4056657516"/>
                    </a:ext>
                  </a:extLst>
                </a:gridCol>
                <a:gridCol w="1909007">
                  <a:extLst>
                    <a:ext uri="{9D8B030D-6E8A-4147-A177-3AD203B41FA5}">
                      <a16:colId xmlns:a16="http://schemas.microsoft.com/office/drawing/2014/main" val="3645520492"/>
                    </a:ext>
                  </a:extLst>
                </a:gridCol>
              </a:tblGrid>
              <a:tr h="240041">
                <a:tc gridSpan="2"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           Appeal Receipt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bg1"/>
                          </a:solidFill>
                        </a:rPr>
                        <a:t>FY 2019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bg1"/>
                          </a:solidFill>
                        </a:rPr>
                        <a:t>FY 202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bg1"/>
                          </a:solidFill>
                        </a:rPr>
                        <a:t>FY 202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bg1"/>
                          </a:solidFill>
                        </a:rPr>
                        <a:t>FY 2022 (Q2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4417761"/>
                  </a:ext>
                </a:extLst>
              </a:tr>
              <a:tr h="240041">
                <a:tc rowSpan="2">
                  <a:txBody>
                    <a:bodyPr/>
                    <a:lstStyle/>
                    <a:p>
                      <a:pPr algn="ctr"/>
                      <a:r>
                        <a:rPr lang="en-US" sz="1600" b="1">
                          <a:solidFill>
                            <a:schemeClr val="accent6">
                              <a:lumMod val="25000"/>
                            </a:schemeClr>
                          </a:solidFill>
                        </a:rPr>
                        <a:t>VB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6">
                              <a:lumMod val="25000"/>
                            </a:schemeClr>
                          </a:solidFill>
                        </a:rPr>
                        <a:t>HLR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accent6">
                              <a:lumMod val="25000"/>
                            </a:schemeClr>
                          </a:solidFill>
                        </a:rPr>
                        <a:t>21,395       (15%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accent6">
                              <a:lumMod val="25000"/>
                            </a:schemeClr>
                          </a:solidFill>
                        </a:rPr>
                        <a:t>82,598      (21%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accent6">
                              <a:lumMod val="25000"/>
                            </a:schemeClr>
                          </a:solidFill>
                        </a:rPr>
                        <a:t>102,757      (24%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accent6">
                              <a:lumMod val="25000"/>
                            </a:schemeClr>
                          </a:solidFill>
                        </a:rPr>
                        <a:t>56,020      (24%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6894490"/>
                  </a:ext>
                </a:extLst>
              </a:tr>
              <a:tr h="240041">
                <a:tc vMerge="1">
                  <a:txBody>
                    <a:bodyPr/>
                    <a:lstStyle/>
                    <a:p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accent6">
                              <a:lumMod val="25000"/>
                            </a:schemeClr>
                          </a:solidFill>
                        </a:rPr>
                        <a:t>Supplemental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accent6">
                              <a:lumMod val="25000"/>
                            </a:schemeClr>
                          </a:solidFill>
                        </a:rPr>
                        <a:t>99,010       (70%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accent6">
                              <a:lumMod val="25000"/>
                            </a:schemeClr>
                          </a:solidFill>
                        </a:rPr>
                        <a:t>261,782     (67%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accent6">
                              <a:lumMod val="25000"/>
                            </a:schemeClr>
                          </a:solidFill>
                        </a:rPr>
                        <a:t>251,422       (59%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accent6">
                              <a:lumMod val="25000"/>
                            </a:schemeClr>
                          </a:solidFill>
                        </a:rPr>
                        <a:t>147,303      (63%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1346069"/>
                  </a:ext>
                </a:extLst>
              </a:tr>
              <a:tr h="240041">
                <a:tc rowSpan="3">
                  <a:txBody>
                    <a:bodyPr/>
                    <a:lstStyle/>
                    <a:p>
                      <a:pPr algn="ctr"/>
                      <a:r>
                        <a:rPr lang="en-US" sz="1600" b="1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Boar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Direct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7,802        (6%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17,753       (5%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27,856        (7%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12,260      (5%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4716954"/>
                  </a:ext>
                </a:extLst>
              </a:tr>
              <a:tr h="240041">
                <a:tc vMerge="1">
                  <a:txBody>
                    <a:bodyPr/>
                    <a:lstStyle/>
                    <a:p>
                      <a:endParaRPr lang="en-US" sz="16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Evidence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2,725        (2%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8,593         (2%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14,981       (4%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5,802      (3%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6740214"/>
                  </a:ext>
                </a:extLst>
              </a:tr>
              <a:tr h="240041">
                <a:tc vMerge="1">
                  <a:txBody>
                    <a:bodyPr/>
                    <a:lstStyle/>
                    <a:p>
                      <a:pPr algn="ctr"/>
                      <a:endParaRPr lang="en-US" sz="1600" b="1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20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Hearing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10,482      (7%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22,495      (6%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30,087       (7%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12,249     (5%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1891674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76605322-A966-4EE1-A2BB-6A3486B73806}"/>
              </a:ext>
            </a:extLst>
          </p:cNvPr>
          <p:cNvSpPr txBox="1"/>
          <p:nvPr/>
        </p:nvSpPr>
        <p:spPr>
          <a:xfrm>
            <a:off x="4394644" y="5376106"/>
            <a:ext cx="466185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*Receipts based on date docketed and excludes appeals later cancelled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C3A727A-7C8E-4E9D-9DE6-82D7044D6F93}"/>
              </a:ext>
            </a:extLst>
          </p:cNvPr>
          <p:cNvSpPr txBox="1"/>
          <p:nvPr/>
        </p:nvSpPr>
        <p:spPr>
          <a:xfrm>
            <a:off x="221673" y="5832564"/>
            <a:ext cx="326403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ta as of:  2</a:t>
            </a:r>
            <a:r>
              <a:rPr kumimoji="0" lang="en-US" sz="1100" b="0" i="1" u="none" strike="noStrike" kern="1200" cap="none" spc="0" normalizeH="0" baseline="3000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d</a:t>
            </a:r>
            <a:r>
              <a:rPr kumimoji="0" lang="en-US" sz="1100" b="0" i="1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Quarter FY 2022.  Updated quarterly.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93B3DA83-3196-4FBD-A1E6-871BC12BC5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2400" y="6400233"/>
            <a:ext cx="512840" cy="365125"/>
          </a:xfrm>
        </p:spPr>
        <p:txBody>
          <a:bodyPr/>
          <a:lstStyle/>
          <a:p>
            <a:fld id="{0312B422-ADD4-4612-A80D-1D146D1ABDA8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98234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D1797315-1CB8-4697-9386-3B5D7315818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55270570"/>
              </p:ext>
            </p:extLst>
          </p:nvPr>
        </p:nvGraphicFramePr>
        <p:xfrm>
          <a:off x="2325950" y="655320"/>
          <a:ext cx="8415942" cy="30733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259948F-2BA1-48EC-AAA9-F2B3E36208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AMA Appeals – Resolution Rates (Board)</a:t>
            </a: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D81A3D42-E30F-4CD8-B5D2-651B36212D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5309518"/>
              </p:ext>
            </p:extLst>
          </p:nvPr>
        </p:nvGraphicFramePr>
        <p:xfrm>
          <a:off x="1278383" y="3832917"/>
          <a:ext cx="9475434" cy="212598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110818">
                  <a:extLst>
                    <a:ext uri="{9D8B030D-6E8A-4147-A177-3AD203B41FA5}">
                      <a16:colId xmlns:a16="http://schemas.microsoft.com/office/drawing/2014/main" val="2343573477"/>
                    </a:ext>
                  </a:extLst>
                </a:gridCol>
                <a:gridCol w="1841154">
                  <a:extLst>
                    <a:ext uri="{9D8B030D-6E8A-4147-A177-3AD203B41FA5}">
                      <a16:colId xmlns:a16="http://schemas.microsoft.com/office/drawing/2014/main" val="1647907454"/>
                    </a:ext>
                  </a:extLst>
                </a:gridCol>
                <a:gridCol w="1841154">
                  <a:extLst>
                    <a:ext uri="{9D8B030D-6E8A-4147-A177-3AD203B41FA5}">
                      <a16:colId xmlns:a16="http://schemas.microsoft.com/office/drawing/2014/main" val="1248407684"/>
                    </a:ext>
                  </a:extLst>
                </a:gridCol>
                <a:gridCol w="1841154">
                  <a:extLst>
                    <a:ext uri="{9D8B030D-6E8A-4147-A177-3AD203B41FA5}">
                      <a16:colId xmlns:a16="http://schemas.microsoft.com/office/drawing/2014/main" val="4056657516"/>
                    </a:ext>
                  </a:extLst>
                </a:gridCol>
                <a:gridCol w="1841154">
                  <a:extLst>
                    <a:ext uri="{9D8B030D-6E8A-4147-A177-3AD203B41FA5}">
                      <a16:colId xmlns:a16="http://schemas.microsoft.com/office/drawing/2014/main" val="3645520492"/>
                    </a:ext>
                  </a:extLst>
                </a:gridCol>
              </a:tblGrid>
              <a:tr h="255437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Board Appeal Dispositions</a:t>
                      </a:r>
                    </a:p>
                  </a:txBody>
                  <a:tcP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FY 2019</a:t>
                      </a:r>
                    </a:p>
                  </a:txBody>
                  <a:tcP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bg1"/>
                          </a:solidFill>
                        </a:rPr>
                        <a:t>FY 2020</a:t>
                      </a:r>
                    </a:p>
                  </a:txBody>
                  <a:tcP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bg1"/>
                          </a:solidFill>
                        </a:rPr>
                        <a:t>FY 2021</a:t>
                      </a:r>
                    </a:p>
                  </a:txBody>
                  <a:tcP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FY 2022 (thru Mar)</a:t>
                      </a:r>
                    </a:p>
                  </a:txBody>
                  <a:tcPr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4417761"/>
                  </a:ext>
                </a:extLst>
              </a:tr>
              <a:tr h="198229"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Allowed w/ No Remands</a:t>
                      </a:r>
                    </a:p>
                  </a:txBody>
                  <a:tcP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505</a:t>
                      </a:r>
                    </a:p>
                  </a:txBody>
                  <a:tcP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4,723</a:t>
                      </a:r>
                    </a:p>
                  </a:txBody>
                  <a:tcP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5,842</a:t>
                      </a:r>
                    </a:p>
                  </a:txBody>
                  <a:tcP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2,817</a:t>
                      </a:r>
                    </a:p>
                  </a:txBody>
                  <a:tcP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6894490"/>
                  </a:ext>
                </a:extLst>
              </a:tr>
              <a:tr h="198229"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Denied</a:t>
                      </a:r>
                    </a:p>
                  </a:txBody>
                  <a:tcP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528</a:t>
                      </a:r>
                    </a:p>
                  </a:txBody>
                  <a:tcP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4,738</a:t>
                      </a:r>
                    </a:p>
                  </a:txBody>
                  <a:tcP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4,965</a:t>
                      </a:r>
                    </a:p>
                  </a:txBody>
                  <a:tcP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1,976</a:t>
                      </a:r>
                    </a:p>
                  </a:txBody>
                  <a:tcP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1346069"/>
                  </a:ext>
                </a:extLst>
              </a:tr>
              <a:tr h="198229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/>
                        <a:t>Remanded**</a:t>
                      </a:r>
                    </a:p>
                  </a:txBody>
                  <a:tcP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627</a:t>
                      </a:r>
                    </a:p>
                  </a:txBody>
                  <a:tcP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6,490</a:t>
                      </a:r>
                    </a:p>
                  </a:txBody>
                  <a:tcP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7,695</a:t>
                      </a:r>
                    </a:p>
                  </a:txBody>
                  <a:tcP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3,821</a:t>
                      </a:r>
                    </a:p>
                  </a:txBody>
                  <a:tcP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4716954"/>
                  </a:ext>
                </a:extLst>
              </a:tr>
              <a:tr h="198229"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Other***</a:t>
                      </a:r>
                    </a:p>
                  </a:txBody>
                  <a:tcP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38</a:t>
                      </a:r>
                    </a:p>
                  </a:txBody>
                  <a:tcP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1,247</a:t>
                      </a:r>
                    </a:p>
                  </a:txBody>
                  <a:tcP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1,991</a:t>
                      </a:r>
                    </a:p>
                  </a:txBody>
                  <a:tcP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/>
                        <a:t>1,140</a:t>
                      </a:r>
                    </a:p>
                  </a:txBody>
                  <a:tcP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4729455"/>
                  </a:ext>
                </a:extLst>
              </a:tr>
              <a:tr h="210619">
                <a:tc>
                  <a:txBody>
                    <a:bodyPr/>
                    <a:lstStyle/>
                    <a:p>
                      <a:pPr algn="ctr"/>
                      <a:r>
                        <a:rPr lang="en-US" sz="1400" b="1"/>
                        <a:t>Total</a:t>
                      </a:r>
                    </a:p>
                  </a:txBody>
                  <a:tcP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/>
                        <a:t>1,698</a:t>
                      </a:r>
                    </a:p>
                  </a:txBody>
                  <a:tcP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/>
                        <a:t>17,198</a:t>
                      </a:r>
                    </a:p>
                  </a:txBody>
                  <a:tcP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/>
                        <a:t>20,493</a:t>
                      </a:r>
                    </a:p>
                  </a:txBody>
                  <a:tcP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9,754</a:t>
                      </a:r>
                    </a:p>
                  </a:txBody>
                  <a:tcP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6740214"/>
                  </a:ext>
                </a:extLst>
              </a:tr>
              <a:tr h="464600">
                <a:tc gridSpan="5">
                  <a:txBody>
                    <a:bodyPr/>
                    <a:lstStyle/>
                    <a:p>
                      <a:pPr algn="l"/>
                      <a:r>
                        <a:rPr lang="en-US" sz="1050" dirty="0"/>
                        <a:t>*Allowed appeals may also contain 1 or more issues denied and do not include appeals with any remanded issues.</a:t>
                      </a:r>
                    </a:p>
                    <a:p>
                      <a:pPr algn="l"/>
                      <a:r>
                        <a:rPr lang="en-US" sz="1050" dirty="0"/>
                        <a:t>**Remanded appeals may also contain 1 or more issues allowed or denied.</a:t>
                      </a:r>
                    </a:p>
                    <a:p>
                      <a:pPr algn="l"/>
                      <a:r>
                        <a:rPr lang="en-US" sz="1050" dirty="0"/>
                        <a:t>***Dispositions other then allowed, denied, or remanded such as dismissals, motion for reconsideration, vacates.</a:t>
                      </a:r>
                    </a:p>
                  </a:txBody>
                  <a:tcP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6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6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6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0962204"/>
                  </a:ext>
                </a:extLst>
              </a:tr>
            </a:tbl>
          </a:graphicData>
        </a:graphic>
      </p:graphicFrame>
      <p:sp>
        <p:nvSpPr>
          <p:cNvPr id="8" name="TextBox 1">
            <a:extLst>
              <a:ext uri="{FF2B5EF4-FFF2-40B4-BE49-F238E27FC236}">
                <a16:creationId xmlns:a16="http://schemas.microsoft.com/office/drawing/2014/main" id="{371338BB-37A9-4213-8CCB-41CA72CB7EC3}"/>
              </a:ext>
            </a:extLst>
          </p:cNvPr>
          <p:cNvSpPr txBox="1"/>
          <p:nvPr/>
        </p:nvSpPr>
        <p:spPr>
          <a:xfrm>
            <a:off x="1836937" y="1059821"/>
            <a:ext cx="950116" cy="626381"/>
          </a:xfrm>
          <a:prstGeom prst="upArrowCallout">
            <a:avLst/>
          </a:prstGeom>
          <a:solidFill>
            <a:schemeClr val="accent3">
              <a:lumMod val="75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50" b="1" i="1" dirty="0"/>
              <a:t>VBA Remand</a:t>
            </a:r>
          </a:p>
          <a:p>
            <a:pPr algn="ctr"/>
            <a:r>
              <a:rPr lang="en-US" sz="1050" b="1" i="1" dirty="0"/>
              <a:t>Increase </a:t>
            </a:r>
          </a:p>
        </p:txBody>
      </p:sp>
      <p:sp>
        <p:nvSpPr>
          <p:cNvPr id="9" name="TextBox 1">
            <a:extLst>
              <a:ext uri="{FF2B5EF4-FFF2-40B4-BE49-F238E27FC236}">
                <a16:creationId xmlns:a16="http://schemas.microsoft.com/office/drawing/2014/main" id="{2E5EE5FC-D550-4DB2-98AC-20037DED8122}"/>
              </a:ext>
            </a:extLst>
          </p:cNvPr>
          <p:cNvSpPr txBox="1"/>
          <p:nvPr/>
        </p:nvSpPr>
        <p:spPr>
          <a:xfrm>
            <a:off x="1836937" y="2387865"/>
            <a:ext cx="950116" cy="624444"/>
          </a:xfrm>
          <a:prstGeom prst="downArrowCallout">
            <a:avLst>
              <a:gd name="adj1" fmla="val 25000"/>
              <a:gd name="adj2" fmla="val 23727"/>
              <a:gd name="adj3" fmla="val 25000"/>
              <a:gd name="adj4" fmla="val 64977"/>
            </a:avLst>
          </a:prstGeom>
          <a:solidFill>
            <a:srgbClr val="F38585"/>
          </a:solidFill>
          <a:ln>
            <a:solidFill>
              <a:srgbClr val="ED4545"/>
            </a:solidFill>
          </a:ln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50" b="1" i="1" dirty="0"/>
              <a:t>Denials</a:t>
            </a:r>
            <a:br>
              <a:rPr lang="en-US" sz="1050" b="1" i="1" dirty="0"/>
            </a:br>
            <a:r>
              <a:rPr lang="en-US" sz="1050" b="1" i="1" dirty="0"/>
              <a:t>Decreasing</a:t>
            </a:r>
          </a:p>
        </p:txBody>
      </p:sp>
      <p:sp>
        <p:nvSpPr>
          <p:cNvPr id="10" name="TextBox 1">
            <a:extLst>
              <a:ext uri="{FF2B5EF4-FFF2-40B4-BE49-F238E27FC236}">
                <a16:creationId xmlns:a16="http://schemas.microsoft.com/office/drawing/2014/main" id="{3B3DB820-825A-466C-AF88-760596A40350}"/>
              </a:ext>
            </a:extLst>
          </p:cNvPr>
          <p:cNvSpPr txBox="1"/>
          <p:nvPr/>
        </p:nvSpPr>
        <p:spPr>
          <a:xfrm>
            <a:off x="1836937" y="1718363"/>
            <a:ext cx="950116" cy="607485"/>
          </a:xfrm>
          <a:prstGeom prst="upArrowCallout">
            <a:avLst/>
          </a:prstGeom>
          <a:solidFill>
            <a:srgbClr val="00C85A"/>
          </a:solidFill>
          <a:ln>
            <a:solidFill>
              <a:srgbClr val="009A46"/>
            </a:solidFill>
          </a:ln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050" b="1" i="1" dirty="0"/>
              <a:t>Allowed</a:t>
            </a:r>
          </a:p>
          <a:p>
            <a:pPr algn="ctr"/>
            <a:r>
              <a:rPr lang="en-US" sz="1050" b="1" i="1" dirty="0"/>
              <a:t>Increasing </a:t>
            </a:r>
          </a:p>
        </p:txBody>
      </p:sp>
      <p:sp>
        <p:nvSpPr>
          <p:cNvPr id="11" name="TextBox 1">
            <a:extLst>
              <a:ext uri="{FF2B5EF4-FFF2-40B4-BE49-F238E27FC236}">
                <a16:creationId xmlns:a16="http://schemas.microsoft.com/office/drawing/2014/main" id="{BBD16FAA-A76C-4331-8B0F-F40BD905874E}"/>
              </a:ext>
            </a:extLst>
          </p:cNvPr>
          <p:cNvSpPr txBox="1"/>
          <p:nvPr/>
        </p:nvSpPr>
        <p:spPr>
          <a:xfrm>
            <a:off x="1850891" y="3038127"/>
            <a:ext cx="950117" cy="557107"/>
          </a:xfrm>
          <a:prstGeom prst="upArrowCallout">
            <a:avLst/>
          </a:prstGeom>
          <a:solidFill>
            <a:schemeClr val="bg1"/>
          </a:solidFill>
          <a:ln w="15875">
            <a:solidFill>
              <a:schemeClr val="bg1">
                <a:lumMod val="65000"/>
              </a:schemeClr>
            </a:solidFill>
          </a:ln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900" i="1" dirty="0"/>
              <a:t>Other: Dismissed, </a:t>
            </a:r>
          </a:p>
          <a:p>
            <a:pPr algn="ctr"/>
            <a:r>
              <a:rPr lang="en-US" sz="900" i="1" dirty="0"/>
              <a:t>Reconsider, Vacate</a:t>
            </a:r>
          </a:p>
        </p:txBody>
      </p:sp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id="{66E15DCC-8B60-4653-9B36-93252563B1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2400" y="6400233"/>
            <a:ext cx="512840" cy="365125"/>
          </a:xfrm>
        </p:spPr>
        <p:txBody>
          <a:bodyPr/>
          <a:lstStyle/>
          <a:p>
            <a:fld id="{0312B422-ADD4-4612-A80D-1D146D1ABDA8}" type="slidenum">
              <a:rPr lang="en-US" smtClean="0"/>
              <a:t>11</a:t>
            </a:fld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A9D8754-2570-4306-80BB-96A87C017BEA}"/>
              </a:ext>
            </a:extLst>
          </p:cNvPr>
          <p:cNvSpPr txBox="1"/>
          <p:nvPr/>
        </p:nvSpPr>
        <p:spPr>
          <a:xfrm>
            <a:off x="17183" y="5934970"/>
            <a:ext cx="269176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ta as of:  March 2022.  Updated monthly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0C5325E-CF7D-4D64-AA1C-B0117EB32558}"/>
              </a:ext>
            </a:extLst>
          </p:cNvPr>
          <p:cNvSpPr txBox="1"/>
          <p:nvPr/>
        </p:nvSpPr>
        <p:spPr>
          <a:xfrm>
            <a:off x="1754791" y="655320"/>
            <a:ext cx="111440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u="sng" dirty="0"/>
              <a:t>Trending</a:t>
            </a:r>
            <a:endParaRPr lang="en-US" b="1" u="sng" dirty="0"/>
          </a:p>
        </p:txBody>
      </p:sp>
    </p:spTree>
    <p:extLst>
      <p:ext uri="{BB962C8B-B14F-4D97-AF65-F5344CB8AC3E}">
        <p14:creationId xmlns:p14="http://schemas.microsoft.com/office/powerpoint/2010/main" val="309201768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5AA8EAB-7974-451A-8863-4D2FBA5C6C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12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38F18C3-5F1F-4B3F-86AC-BB392920D0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Timeliness:   AMA Average Days Pending 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A6B70127-EA4E-4D1E-A0F9-E546CB65054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73342436"/>
              </p:ext>
            </p:extLst>
          </p:nvPr>
        </p:nvGraphicFramePr>
        <p:xfrm>
          <a:off x="110632" y="1129765"/>
          <a:ext cx="11702474" cy="51942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8252DCF0-1099-446E-B52D-4CA150F354DA}"/>
              </a:ext>
            </a:extLst>
          </p:cNvPr>
          <p:cNvSpPr txBox="1"/>
          <p:nvPr/>
        </p:nvSpPr>
        <p:spPr>
          <a:xfrm>
            <a:off x="378894" y="868155"/>
            <a:ext cx="1181310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>
                <a:solidFill>
                  <a:schemeClr val="bg1">
                    <a:lumMod val="50000"/>
                  </a:schemeClr>
                </a:solidFill>
              </a:rPr>
              <a:t>37% of AMA appeals are pending longer than the established timeliness goals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68546F7-D0A6-436D-A3F7-1F5ECAF9EC44}"/>
              </a:ext>
            </a:extLst>
          </p:cNvPr>
          <p:cNvSpPr txBox="1"/>
          <p:nvPr/>
        </p:nvSpPr>
        <p:spPr>
          <a:xfrm>
            <a:off x="0" y="5832564"/>
            <a:ext cx="165942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ta as of:  April 24</a:t>
            </a:r>
            <a:r>
              <a:rPr lang="en-US" sz="1100">
                <a:solidFill>
                  <a:srgbClr val="000000"/>
                </a:solidFill>
                <a:latin typeface="Calibri"/>
              </a:rPr>
              <a:t>, 2022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840939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F1684A2-0C63-421B-8109-7927756C22D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92485" y="1100565"/>
            <a:ext cx="10489915" cy="4656869"/>
          </a:xfrm>
        </p:spPr>
        <p:txBody>
          <a:bodyPr>
            <a:normAutofit/>
          </a:bodyPr>
          <a:lstStyle/>
          <a:p>
            <a:r>
              <a:rPr lang="en-US" dirty="0"/>
              <a:t>50,000 Hearings capacity and 36,030 schedule/held</a:t>
            </a:r>
          </a:p>
          <a:p>
            <a:endParaRPr lang="en-US" sz="2400" dirty="0"/>
          </a:p>
          <a:p>
            <a:r>
              <a:rPr lang="en-US" dirty="0"/>
              <a:t>102,561 Decisions for Veterans and families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Utilizing VA Notify and other electronic means to communicate with Veterans on status of appeals</a:t>
            </a:r>
          </a:p>
          <a:p>
            <a:endParaRPr lang="en-US" dirty="0"/>
          </a:p>
          <a:p>
            <a:r>
              <a:rPr lang="en-US" dirty="0"/>
              <a:t>10182 Electronic Filing on VA.gov – launching in phas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6BD701D-7137-4532-9418-31B821376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FY 2022 Goals and Objectives	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F475322-F70D-429D-B92E-C31DAE4B13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12B422-ADD4-4612-A80D-1D146D1ABDA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19554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B9C1FAE6-C075-4C5D-ACCD-F8DC7BBB02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Department of Veterans Affairs</a:t>
            </a:r>
          </a:p>
        </p:txBody>
      </p:sp>
      <p:sp>
        <p:nvSpPr>
          <p:cNvPr id="8" name="Slide Number Placeholder 1">
            <a:extLst>
              <a:ext uri="{FF2B5EF4-FFF2-40B4-BE49-F238E27FC236}">
                <a16:creationId xmlns:a16="http://schemas.microsoft.com/office/drawing/2014/main" id="{DFF2809E-2A97-496C-BBD9-46232373B8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2400" y="6400233"/>
            <a:ext cx="512840" cy="365125"/>
          </a:xfrm>
        </p:spPr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2</a:t>
            </a:fld>
            <a:endParaRPr lang="en-US">
              <a:solidFill>
                <a:prstClr val="white"/>
              </a:solidFill>
            </a:endParaRPr>
          </a:p>
        </p:txBody>
      </p:sp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5CDB4B96-9023-4FA2-B934-7DDBB829E20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74389604"/>
              </p:ext>
            </p:extLst>
          </p:nvPr>
        </p:nvGraphicFramePr>
        <p:xfrm>
          <a:off x="322742" y="655320"/>
          <a:ext cx="11687748" cy="551944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DF0E3740-4CCA-480A-859F-1605310C1BC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7360" y="1064237"/>
            <a:ext cx="890822" cy="89082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04C8964F-2B4C-4C14-89F4-D2B664755151}"/>
              </a:ext>
            </a:extLst>
          </p:cNvPr>
          <p:cNvSpPr txBox="1"/>
          <p:nvPr/>
        </p:nvSpPr>
        <p:spPr>
          <a:xfrm>
            <a:off x="9110621" y="5270382"/>
            <a:ext cx="2899869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>
                <a:solidFill>
                  <a:schemeClr val="tx2">
                    <a:lumMod val="75000"/>
                  </a:schemeClr>
                </a:solidFill>
              </a:rPr>
              <a:t>*</a:t>
            </a:r>
            <a:r>
              <a:rPr lang="en-US" sz="1400" i="1" dirty="0">
                <a:solidFill>
                  <a:schemeClr val="tx2">
                    <a:lumMod val="75000"/>
                  </a:schemeClr>
                </a:solidFill>
              </a:rPr>
              <a:t>The Chairman reports directly to the Secretary.  The Board reports directly to the Office of the Secretary.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5F5F673F-4BB8-4F95-B88C-04910448B784}"/>
              </a:ext>
            </a:extLst>
          </p:cNvPr>
          <p:cNvSpPr/>
          <p:nvPr/>
        </p:nvSpPr>
        <p:spPr>
          <a:xfrm>
            <a:off x="595901" y="4150758"/>
            <a:ext cx="154113" cy="154112"/>
          </a:xfrm>
          <a:prstGeom prst="ellips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DB0ACE07-28EB-4D93-8B30-32E9FF5F5355}"/>
              </a:ext>
            </a:extLst>
          </p:cNvPr>
          <p:cNvSpPr/>
          <p:nvPr/>
        </p:nvSpPr>
        <p:spPr>
          <a:xfrm>
            <a:off x="3463247" y="4145620"/>
            <a:ext cx="154113" cy="154112"/>
          </a:xfrm>
          <a:prstGeom prst="ellips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46DC2308-A239-44CB-A6F0-76FE5642D42D}"/>
              </a:ext>
            </a:extLst>
          </p:cNvPr>
          <p:cNvSpPr/>
          <p:nvPr/>
        </p:nvSpPr>
        <p:spPr>
          <a:xfrm>
            <a:off x="6616632" y="4145620"/>
            <a:ext cx="154113" cy="154112"/>
          </a:xfrm>
          <a:prstGeom prst="ellips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86A0E279-5E67-4464-8035-2AD22847E84E}"/>
              </a:ext>
            </a:extLst>
          </p:cNvPr>
          <p:cNvSpPr/>
          <p:nvPr/>
        </p:nvSpPr>
        <p:spPr>
          <a:xfrm>
            <a:off x="9585789" y="3791165"/>
            <a:ext cx="143838" cy="154112"/>
          </a:xfrm>
          <a:prstGeom prst="ellips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85108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BFDC0546-9C73-47D0-A1AC-4E7DFF6F631C}"/>
              </a:ext>
            </a:extLst>
          </p:cNvPr>
          <p:cNvCxnSpPr>
            <a:cxnSpLocks/>
          </p:cNvCxnSpPr>
          <p:nvPr/>
        </p:nvCxnSpPr>
        <p:spPr>
          <a:xfrm>
            <a:off x="7123323" y="1474633"/>
            <a:ext cx="992479" cy="13045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7BA0BCE4-B2FF-4D8B-A04F-124FDF8DE2A6}"/>
              </a:ext>
            </a:extLst>
          </p:cNvPr>
          <p:cNvCxnSpPr>
            <a:cxnSpLocks/>
          </p:cNvCxnSpPr>
          <p:nvPr/>
        </p:nvCxnSpPr>
        <p:spPr>
          <a:xfrm flipV="1">
            <a:off x="4664902" y="1829396"/>
            <a:ext cx="954904" cy="2614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5D46258D-EFF7-4514-A62F-9181324962F6}"/>
              </a:ext>
            </a:extLst>
          </p:cNvPr>
          <p:cNvCxnSpPr>
            <a:cxnSpLocks/>
          </p:cNvCxnSpPr>
          <p:nvPr/>
        </p:nvCxnSpPr>
        <p:spPr>
          <a:xfrm>
            <a:off x="2618378" y="4744225"/>
            <a:ext cx="11551" cy="613567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3441137F-83D5-483A-AE42-03CDD9758382}"/>
              </a:ext>
            </a:extLst>
          </p:cNvPr>
          <p:cNvCxnSpPr>
            <a:cxnSpLocks/>
          </p:cNvCxnSpPr>
          <p:nvPr/>
        </p:nvCxnSpPr>
        <p:spPr>
          <a:xfrm flipV="1">
            <a:off x="4479836" y="4178848"/>
            <a:ext cx="2916455" cy="7216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D7BA75DD-1168-43FA-9823-B1645F96135B}"/>
              </a:ext>
            </a:extLst>
          </p:cNvPr>
          <p:cNvCxnSpPr>
            <a:cxnSpLocks/>
          </p:cNvCxnSpPr>
          <p:nvPr/>
        </p:nvCxnSpPr>
        <p:spPr>
          <a:xfrm>
            <a:off x="4276172" y="4739001"/>
            <a:ext cx="0" cy="682363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2DB8293A-FC7A-4F0B-AC5C-60CE5BF0875F}"/>
              </a:ext>
            </a:extLst>
          </p:cNvPr>
          <p:cNvCxnSpPr>
            <a:cxnSpLocks/>
          </p:cNvCxnSpPr>
          <p:nvPr/>
        </p:nvCxnSpPr>
        <p:spPr>
          <a:xfrm flipV="1">
            <a:off x="953294" y="4715317"/>
            <a:ext cx="0" cy="343476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F976D127-FA9D-4D8F-8D53-B788014DDB94}"/>
              </a:ext>
            </a:extLst>
          </p:cNvPr>
          <p:cNvCxnSpPr>
            <a:cxnSpLocks/>
          </p:cNvCxnSpPr>
          <p:nvPr/>
        </p:nvCxnSpPr>
        <p:spPr>
          <a:xfrm>
            <a:off x="6858000" y="3262426"/>
            <a:ext cx="4492914" cy="22769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B40C04D7-2DD8-489D-91C9-39A8244109C1}"/>
              </a:ext>
            </a:extLst>
          </p:cNvPr>
          <p:cNvCxnSpPr>
            <a:cxnSpLocks/>
          </p:cNvCxnSpPr>
          <p:nvPr/>
        </p:nvCxnSpPr>
        <p:spPr>
          <a:xfrm flipV="1">
            <a:off x="4479836" y="3591473"/>
            <a:ext cx="2916455" cy="7216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288DE54E-D32C-42F3-89A1-54785DB0585D}"/>
              </a:ext>
            </a:extLst>
          </p:cNvPr>
          <p:cNvCxnSpPr>
            <a:cxnSpLocks/>
          </p:cNvCxnSpPr>
          <p:nvPr/>
        </p:nvCxnSpPr>
        <p:spPr>
          <a:xfrm>
            <a:off x="9758153" y="3262426"/>
            <a:ext cx="0" cy="1784983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2ECDF521-E519-4B74-8C37-ED72DDC2D455}"/>
              </a:ext>
            </a:extLst>
          </p:cNvPr>
          <p:cNvCxnSpPr>
            <a:cxnSpLocks/>
            <a:endCxn id="59" idx="0"/>
          </p:cNvCxnSpPr>
          <p:nvPr/>
        </p:nvCxnSpPr>
        <p:spPr>
          <a:xfrm>
            <a:off x="6062061" y="1313810"/>
            <a:ext cx="123163" cy="3299391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D5D8B4B5-7260-4A1B-9226-C2C272831647}"/>
              </a:ext>
            </a:extLst>
          </p:cNvPr>
          <p:cNvCxnSpPr>
            <a:cxnSpLocks/>
          </p:cNvCxnSpPr>
          <p:nvPr/>
        </p:nvCxnSpPr>
        <p:spPr>
          <a:xfrm flipH="1">
            <a:off x="8336246" y="3266908"/>
            <a:ext cx="1" cy="1823879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ABADABB9-89A1-49FE-9D27-10032F1BDA83}"/>
              </a:ext>
            </a:extLst>
          </p:cNvPr>
          <p:cNvCxnSpPr>
            <a:cxnSpLocks/>
          </p:cNvCxnSpPr>
          <p:nvPr/>
        </p:nvCxnSpPr>
        <p:spPr>
          <a:xfrm>
            <a:off x="11350914" y="3288296"/>
            <a:ext cx="0" cy="2322391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FB41ABB3-B281-4A79-8B55-D8184D93D85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076030"/>
              </p:ext>
            </p:extLst>
          </p:nvPr>
        </p:nvGraphicFramePr>
        <p:xfrm>
          <a:off x="5210501" y="2685356"/>
          <a:ext cx="1951514" cy="1798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515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397551"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br>
                        <a:rPr lang="en-US" sz="1200" b="1" u="none" baseline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j-lt"/>
                          <a:cs typeface="Arial" panose="020B0604020202020204" pitchFamily="34" charset="0"/>
                        </a:rPr>
                      </a:br>
                      <a:br>
                        <a:rPr lang="en-US" sz="1200" b="1" u="none" baseline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j-lt"/>
                          <a:cs typeface="Arial" panose="020B0604020202020204" pitchFamily="34" charset="0"/>
                        </a:rPr>
                      </a:br>
                      <a:br>
                        <a:rPr lang="en-US" sz="1200" b="1" u="none" baseline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j-lt"/>
                          <a:cs typeface="Arial" panose="020B0604020202020204" pitchFamily="34" charset="0"/>
                        </a:rPr>
                      </a:br>
                      <a:br>
                        <a:rPr lang="en-US" sz="1200" b="1" u="none" baseline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j-lt"/>
                          <a:cs typeface="Arial" panose="020B0604020202020204" pitchFamily="34" charset="0"/>
                        </a:rPr>
                      </a:br>
                      <a:br>
                        <a:rPr lang="en-US" sz="1200" b="1" u="none" baseline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j-lt"/>
                          <a:cs typeface="Arial" panose="020B0604020202020204" pitchFamily="34" charset="0"/>
                        </a:rPr>
                      </a:br>
                      <a:br>
                        <a:rPr lang="en-US" sz="1200" b="1" u="none" baseline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j-lt"/>
                          <a:cs typeface="Arial" panose="020B0604020202020204" pitchFamily="34" charset="0"/>
                        </a:rPr>
                      </a:br>
                      <a:br>
                        <a:rPr lang="en-US" sz="1200" b="1" u="none" baseline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j-lt"/>
                          <a:cs typeface="Arial" panose="020B0604020202020204" pitchFamily="34" charset="0"/>
                        </a:rPr>
                      </a:br>
                      <a:r>
                        <a:rPr lang="en-US" sz="1400" b="1" u="none" baseline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j-lt"/>
                          <a:cs typeface="Arial" panose="020B0604020202020204" pitchFamily="34" charset="0"/>
                        </a:rPr>
                        <a:t>Vice Chairman </a:t>
                      </a:r>
                      <a:br>
                        <a:rPr lang="en-US" sz="1400" b="1" u="none" baseline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j-lt"/>
                          <a:cs typeface="Arial" panose="020B0604020202020204" pitchFamily="34" charset="0"/>
                        </a:rPr>
                      </a:br>
                      <a:r>
                        <a:rPr lang="en-US" sz="1400" b="0" u="none" baseline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j-lt"/>
                          <a:cs typeface="Arial" panose="020B0604020202020204" pitchFamily="34" charset="0"/>
                        </a:rPr>
                        <a:t>Ken Arnold</a:t>
                      </a:r>
                      <a:endParaRPr lang="en-US" sz="1200" b="0" u="none" baseline="0" dirty="0">
                        <a:solidFill>
                          <a:schemeClr val="bg1">
                            <a:lumMod val="95000"/>
                          </a:schemeClr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EF2C2FDB-6883-4303-8316-F1AB164CA0A4}"/>
              </a:ext>
            </a:extLst>
          </p:cNvPr>
          <p:cNvGraphicFramePr>
            <a:graphicFrameLocks noGrp="1"/>
          </p:cNvGraphicFramePr>
          <p:nvPr/>
        </p:nvGraphicFramePr>
        <p:xfrm>
          <a:off x="3699124" y="1530651"/>
          <a:ext cx="1154095" cy="5883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54095">
                  <a:extLst>
                    <a:ext uri="{9D8B030D-6E8A-4147-A177-3AD203B41FA5}">
                      <a16:colId xmlns:a16="http://schemas.microsoft.com/office/drawing/2014/main" val="2006680081"/>
                    </a:ext>
                  </a:extLst>
                </a:gridCol>
              </a:tblGrid>
              <a:tr h="588348">
                <a:tc>
                  <a:txBody>
                    <a:bodyPr/>
                    <a:lstStyle/>
                    <a:p>
                      <a:pPr algn="ctr"/>
                      <a:r>
                        <a:rPr lang="en-US" sz="1050" b="1">
                          <a:solidFill>
                            <a:schemeClr val="tx1"/>
                          </a:solidFill>
                          <a:latin typeface="+mj-lt"/>
                          <a:cs typeface="Arial"/>
                        </a:rPr>
                        <a:t>Executive Assistant</a:t>
                      </a:r>
                    </a:p>
                    <a:p>
                      <a:pPr algn="ctr"/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  <a:cs typeface="Arial"/>
                        </a:rPr>
                        <a:t>Ruby Clendenning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2379178"/>
                  </a:ext>
                </a:extLst>
              </a:tr>
            </a:tbl>
          </a:graphicData>
        </a:graphic>
      </p:graphicFrame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A16945A4-148D-494A-B009-C1AF8A216DDF}"/>
              </a:ext>
            </a:extLst>
          </p:cNvPr>
          <p:cNvGraphicFramePr>
            <a:graphicFrameLocks noGrp="1"/>
          </p:cNvGraphicFramePr>
          <p:nvPr/>
        </p:nvGraphicFramePr>
        <p:xfrm>
          <a:off x="7223138" y="3904866"/>
          <a:ext cx="1026068" cy="3968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26068">
                  <a:extLst>
                    <a:ext uri="{9D8B030D-6E8A-4147-A177-3AD203B41FA5}">
                      <a16:colId xmlns:a16="http://schemas.microsoft.com/office/drawing/2014/main" val="2006680081"/>
                    </a:ext>
                  </a:extLst>
                </a:gridCol>
              </a:tblGrid>
              <a:tr h="396875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050" b="1" i="0" u="none" strike="noStrike" noProof="0">
                          <a:solidFill>
                            <a:schemeClr val="tx1"/>
                          </a:solidFill>
                          <a:latin typeface="Calibri Light"/>
                        </a:rPr>
                        <a:t>Ombudsman</a:t>
                      </a:r>
                      <a:br>
                        <a:rPr lang="en-US" sz="1050" b="1" i="0" u="none" strike="noStrike" noProof="0">
                          <a:solidFill>
                            <a:srgbClr val="000000"/>
                          </a:solidFill>
                          <a:latin typeface="Calibri Light"/>
                        </a:rPr>
                      </a:br>
                      <a:r>
                        <a:rPr lang="en-US" sz="1050" b="0" i="0" u="none" strike="noStrike" noProof="0">
                          <a:solidFill>
                            <a:schemeClr val="tx1"/>
                          </a:solidFill>
                          <a:latin typeface="Calibri Light"/>
                        </a:rPr>
                        <a:t>Mary Cullinan</a:t>
                      </a:r>
                      <a:endParaRPr lang="en-US" b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2379178"/>
                  </a:ext>
                </a:extLst>
              </a:tr>
            </a:tbl>
          </a:graphicData>
        </a:graphic>
      </p:graphicFrame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20B3C8C9-FA7E-432D-9A61-7A64AF245B18}"/>
              </a:ext>
            </a:extLst>
          </p:cNvPr>
          <p:cNvGraphicFramePr>
            <a:graphicFrameLocks noGrp="1"/>
          </p:cNvGraphicFramePr>
          <p:nvPr/>
        </p:nvGraphicFramePr>
        <p:xfrm>
          <a:off x="3705121" y="3377628"/>
          <a:ext cx="1379435" cy="4268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79435">
                  <a:extLst>
                    <a:ext uri="{9D8B030D-6E8A-4147-A177-3AD203B41FA5}">
                      <a16:colId xmlns:a16="http://schemas.microsoft.com/office/drawing/2014/main" val="2006680081"/>
                    </a:ext>
                  </a:extLst>
                </a:gridCol>
              </a:tblGrid>
              <a:tr h="426806">
                <a:tc>
                  <a:txBody>
                    <a:bodyPr/>
                    <a:lstStyle/>
                    <a:p>
                      <a:pPr algn="ctr"/>
                      <a:r>
                        <a:rPr lang="en-US" sz="1050" b="1">
                          <a:solidFill>
                            <a:schemeClr val="tx1"/>
                          </a:solidFill>
                          <a:latin typeface="+mj-lt"/>
                          <a:cs typeface="Arial"/>
                        </a:rPr>
                        <a:t>Chief of Staff</a:t>
                      </a:r>
                      <a:br>
                        <a:rPr lang="en-US" sz="1050" b="1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</a:br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  <a:cs typeface="Arial"/>
                        </a:rPr>
                        <a:t>Nick Uchalik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2379178"/>
                  </a:ext>
                </a:extLst>
              </a:tr>
            </a:tbl>
          </a:graphicData>
        </a:graphic>
      </p:graphicFrame>
      <p:graphicFrame>
        <p:nvGraphicFramePr>
          <p:cNvPr id="20" name="Table 19">
            <a:extLst>
              <a:ext uri="{FF2B5EF4-FFF2-40B4-BE49-F238E27FC236}">
                <a16:creationId xmlns:a16="http://schemas.microsoft.com/office/drawing/2014/main" id="{51CFDF15-4BB0-43A0-B3C4-6B4C86D5B938}"/>
              </a:ext>
            </a:extLst>
          </p:cNvPr>
          <p:cNvGraphicFramePr>
            <a:graphicFrameLocks noGrp="1"/>
          </p:cNvGraphicFramePr>
          <p:nvPr/>
        </p:nvGraphicFramePr>
        <p:xfrm>
          <a:off x="8048084" y="1197334"/>
          <a:ext cx="1915066" cy="5676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15066">
                  <a:extLst>
                    <a:ext uri="{9D8B030D-6E8A-4147-A177-3AD203B41FA5}">
                      <a16:colId xmlns:a16="http://schemas.microsoft.com/office/drawing/2014/main" val="2006680081"/>
                    </a:ext>
                  </a:extLst>
                </a:gridCol>
              </a:tblGrid>
              <a:tr h="567644">
                <a:tc>
                  <a:txBody>
                    <a:bodyPr/>
                    <a:lstStyle/>
                    <a:p>
                      <a:pPr algn="ctr"/>
                      <a:r>
                        <a:rPr lang="en-US" sz="1050" b="1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Strategic Advisor on</a:t>
                      </a:r>
                    </a:p>
                    <a:p>
                      <a:pPr algn="ctr"/>
                      <a:r>
                        <a:rPr lang="en-US" sz="1050" b="1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VSO and Representative Affairs</a:t>
                      </a:r>
                      <a:br>
                        <a:rPr lang="en-US" sz="1050" b="1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</a:br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Marty Caraway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2379178"/>
                  </a:ext>
                </a:extLst>
              </a:tr>
            </a:tbl>
          </a:graphicData>
        </a:graphic>
      </p:graphicFrame>
      <p:graphicFrame>
        <p:nvGraphicFramePr>
          <p:cNvPr id="35" name="Table 34">
            <a:extLst>
              <a:ext uri="{FF2B5EF4-FFF2-40B4-BE49-F238E27FC236}">
                <a16:creationId xmlns:a16="http://schemas.microsoft.com/office/drawing/2014/main" id="{147BA588-88A6-4161-92B7-A068872243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5398281"/>
              </p:ext>
            </p:extLst>
          </p:nvPr>
        </p:nvGraphicFramePr>
        <p:xfrm>
          <a:off x="1703252" y="5018996"/>
          <a:ext cx="1664018" cy="1789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640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789640"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endParaRPr lang="en-US" sz="1200" b="1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>
                        <a:spcBef>
                          <a:spcPts val="600"/>
                        </a:spcBef>
                      </a:pPr>
                      <a:endParaRPr lang="en-US" sz="1200" b="1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200" b="1" u="none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VACANT</a:t>
                      </a:r>
                    </a:p>
                    <a:p>
                      <a:pPr algn="ctr">
                        <a:spcBef>
                          <a:spcPts val="600"/>
                        </a:spcBef>
                      </a:pPr>
                      <a:endParaRPr lang="en-US" sz="1200" b="1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>
                        <a:spcBef>
                          <a:spcPts val="600"/>
                        </a:spcBef>
                      </a:pPr>
                      <a:endParaRPr lang="en-US" sz="1200" b="1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200" b="1" u="none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Deputy Vice Chairman </a:t>
                      </a:r>
                      <a:r>
                        <a:rPr lang="en-US" sz="1200" b="0" u="non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amia Gordon</a:t>
                      </a:r>
                      <a:endParaRPr lang="en-US" sz="1200" b="0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14467393-EA94-4996-8DDA-907386CAB34F}"/>
              </a:ext>
            </a:extLst>
          </p:cNvPr>
          <p:cNvCxnSpPr>
            <a:cxnSpLocks/>
          </p:cNvCxnSpPr>
          <p:nvPr/>
        </p:nvCxnSpPr>
        <p:spPr>
          <a:xfrm>
            <a:off x="953294" y="4739001"/>
            <a:ext cx="5904706" cy="0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6AFD9274-C351-4864-A21D-A7BABE736A10}"/>
              </a:ext>
            </a:extLst>
          </p:cNvPr>
          <p:cNvCxnSpPr>
            <a:cxnSpLocks/>
          </p:cNvCxnSpPr>
          <p:nvPr/>
        </p:nvCxnSpPr>
        <p:spPr>
          <a:xfrm flipV="1">
            <a:off x="7087456" y="2307036"/>
            <a:ext cx="954904" cy="2614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4C8757C3-3CD8-4DA1-9FA4-5173C157D69D}"/>
              </a:ext>
            </a:extLst>
          </p:cNvPr>
          <p:cNvSpPr txBox="1"/>
          <p:nvPr/>
        </p:nvSpPr>
        <p:spPr>
          <a:xfrm>
            <a:off x="-9534" y="-127131"/>
            <a:ext cx="12192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oard</a:t>
            </a:r>
            <a:r>
              <a:rPr lang="en-US" sz="2400" b="1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Veterans’ Appeal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9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Organizational Structure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21901C86-7455-47B4-B57A-6C61E6815B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2667495"/>
              </p:ext>
            </p:extLst>
          </p:nvPr>
        </p:nvGraphicFramePr>
        <p:xfrm>
          <a:off x="5104545" y="700431"/>
          <a:ext cx="2082909" cy="188564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8290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885647">
                <a:tc>
                  <a:txBody>
                    <a:bodyPr/>
                    <a:lstStyle/>
                    <a:p>
                      <a:pPr algn="ctr"/>
                      <a:endParaRPr lang="en-US" sz="1800" b="1" u="none" baseline="0" dirty="0">
                        <a:solidFill>
                          <a:schemeClr val="bg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800" b="1" u="none" baseline="0" dirty="0">
                        <a:solidFill>
                          <a:schemeClr val="bg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1600" b="1" u="none" baseline="0" dirty="0">
                        <a:solidFill>
                          <a:schemeClr val="bg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US" sz="3200" b="1" u="none" baseline="0" dirty="0">
                        <a:solidFill>
                          <a:schemeClr val="bg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en-US" sz="1600" b="1" u="none" baseline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j-lt"/>
                          <a:cs typeface="Arial" panose="020B0604020202020204" pitchFamily="34" charset="0"/>
                        </a:rPr>
                        <a:t>Chairman</a:t>
                      </a:r>
                      <a:br>
                        <a:rPr lang="en-US" sz="1400" b="1" u="none" baseline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j-lt"/>
                          <a:cs typeface="Arial" panose="020B0604020202020204" pitchFamily="34" charset="0"/>
                        </a:rPr>
                      </a:br>
                      <a:r>
                        <a:rPr lang="en-US" sz="1400" b="0" u="none" baseline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j-lt"/>
                          <a:cs typeface="Arial" panose="020B0604020202020204" pitchFamily="34" charset="0"/>
                        </a:rPr>
                        <a:t>Cheryl Mason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F7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53" name="Table 52">
            <a:extLst>
              <a:ext uri="{FF2B5EF4-FFF2-40B4-BE49-F238E27FC236}">
                <a16:creationId xmlns:a16="http://schemas.microsoft.com/office/drawing/2014/main" id="{FEFA7A8B-EFB0-4477-BF6C-55DC18AEE3C4}"/>
              </a:ext>
            </a:extLst>
          </p:cNvPr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2014426012"/>
              </p:ext>
            </p:extLst>
          </p:nvPr>
        </p:nvGraphicFramePr>
        <p:xfrm>
          <a:off x="102526" y="5018996"/>
          <a:ext cx="1598433" cy="1789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984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789640"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endParaRPr lang="en-US" sz="1200" b="1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>
                        <a:spcBef>
                          <a:spcPts val="600"/>
                        </a:spcBef>
                      </a:pPr>
                      <a:endParaRPr lang="en-US" sz="1200" b="1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>
                        <a:spcBef>
                          <a:spcPts val="600"/>
                        </a:spcBef>
                      </a:pPr>
                      <a:endParaRPr lang="en-US" sz="1200" b="1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>
                        <a:spcBef>
                          <a:spcPts val="600"/>
                        </a:spcBef>
                      </a:pPr>
                      <a:endParaRPr lang="en-US" sz="1200" b="1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>
                        <a:spcBef>
                          <a:spcPts val="600"/>
                        </a:spcBef>
                      </a:pPr>
                      <a:endParaRPr lang="en-US" sz="1200" b="1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200" b="1" u="none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Deputy Vice Chairman </a:t>
                      </a:r>
                      <a:br>
                        <a:rPr lang="en-US" sz="1200" b="1" u="none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</a:br>
                      <a:r>
                        <a:rPr lang="en-US" sz="1200" b="0" u="none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b="0" u="none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Robert Scharnberger</a:t>
                      </a:r>
                      <a:endParaRPr lang="en-US" sz="1200" b="0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55" name="Table 54">
            <a:extLst>
              <a:ext uri="{FF2B5EF4-FFF2-40B4-BE49-F238E27FC236}">
                <a16:creationId xmlns:a16="http://schemas.microsoft.com/office/drawing/2014/main" id="{A97BEAD7-486A-46E9-9AAE-E636179DF53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9009281"/>
              </p:ext>
            </p:extLst>
          </p:nvPr>
        </p:nvGraphicFramePr>
        <p:xfrm>
          <a:off x="8923830" y="5015714"/>
          <a:ext cx="1589527" cy="179292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895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792923"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endParaRPr lang="en-US" sz="1200" b="1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>
                        <a:spcBef>
                          <a:spcPts val="600"/>
                        </a:spcBef>
                      </a:pPr>
                      <a:endParaRPr lang="en-US" sz="1200" b="1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>
                        <a:spcBef>
                          <a:spcPts val="600"/>
                        </a:spcBef>
                      </a:pPr>
                      <a:endParaRPr lang="en-US" sz="1200" b="1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>
                        <a:spcBef>
                          <a:spcPts val="600"/>
                        </a:spcBef>
                      </a:pPr>
                      <a:endParaRPr lang="en-US" sz="1200" b="1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>
                        <a:spcBef>
                          <a:spcPts val="600"/>
                        </a:spcBef>
                      </a:pPr>
                      <a:endParaRPr lang="en-US" sz="1200" b="1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200" b="1" u="none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Executive Director</a:t>
                      </a:r>
                      <a:br>
                        <a:rPr lang="en-US" sz="1200" b="1" u="none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</a:br>
                      <a:r>
                        <a:rPr lang="en-US" sz="1200" b="0" u="none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Nina Tan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56" name="Picture 55">
            <a:extLst>
              <a:ext uri="{FF2B5EF4-FFF2-40B4-BE49-F238E27FC236}">
                <a16:creationId xmlns:a16="http://schemas.microsoft.com/office/drawing/2014/main" id="{C7537588-8D49-44BD-8B7B-4643E4F4FEAA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59" t="12748" r="24629" b="33611"/>
          <a:stretch/>
        </p:blipFill>
        <p:spPr>
          <a:xfrm>
            <a:off x="9187367" y="5075616"/>
            <a:ext cx="1051920" cy="1272639"/>
          </a:xfrm>
          <a:prstGeom prst="rect">
            <a:avLst/>
          </a:prstGeom>
        </p:spPr>
      </p:pic>
      <p:graphicFrame>
        <p:nvGraphicFramePr>
          <p:cNvPr id="57" name="Table 56">
            <a:extLst>
              <a:ext uri="{FF2B5EF4-FFF2-40B4-BE49-F238E27FC236}">
                <a16:creationId xmlns:a16="http://schemas.microsoft.com/office/drawing/2014/main" id="{490043D8-270B-4978-A956-81BA3559C5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8368473"/>
              </p:ext>
            </p:extLst>
          </p:nvPr>
        </p:nvGraphicFramePr>
        <p:xfrm>
          <a:off x="7242922" y="5014747"/>
          <a:ext cx="1669297" cy="17863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6929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786368"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endParaRPr lang="en-US" sz="1200" b="1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>
                        <a:spcBef>
                          <a:spcPts val="600"/>
                        </a:spcBef>
                      </a:pPr>
                      <a:endParaRPr lang="en-US" sz="1200" b="1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>
                        <a:spcBef>
                          <a:spcPts val="600"/>
                        </a:spcBef>
                      </a:pPr>
                      <a:endParaRPr lang="en-US" sz="1200" b="1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>
                        <a:spcBef>
                          <a:spcPts val="600"/>
                        </a:spcBef>
                      </a:pPr>
                      <a:endParaRPr lang="en-US" sz="1200" b="1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>
                        <a:spcBef>
                          <a:spcPts val="600"/>
                        </a:spcBef>
                      </a:pPr>
                      <a:endParaRPr lang="en-US" sz="1200" b="1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200" b="1" u="none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Chief Counsel </a:t>
                      </a:r>
                      <a:br>
                        <a:rPr lang="en-US" sz="1200" b="1" u="none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</a:br>
                      <a:r>
                        <a:rPr lang="en-US" sz="1200" b="0" u="none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 Tony </a:t>
                      </a:r>
                      <a:r>
                        <a:rPr lang="en-US" sz="1200" b="0" u="none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Sciré </a:t>
                      </a:r>
                      <a:endParaRPr lang="en-US" sz="1200" b="1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59" name="Table 58">
            <a:extLst>
              <a:ext uri="{FF2B5EF4-FFF2-40B4-BE49-F238E27FC236}">
                <a16:creationId xmlns:a16="http://schemas.microsoft.com/office/drawing/2014/main" id="{042FBA28-0E0D-4C57-BE47-9287F5F10F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5843201"/>
              </p:ext>
            </p:extLst>
          </p:nvPr>
        </p:nvGraphicFramePr>
        <p:xfrm>
          <a:off x="5184913" y="4613201"/>
          <a:ext cx="2000622" cy="20239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0062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023906">
                <a:tc>
                  <a:txBody>
                    <a:bodyPr/>
                    <a:lstStyle/>
                    <a:p>
                      <a:pPr algn="ctr"/>
                      <a:br>
                        <a:rPr lang="en-US" sz="1200" b="1" u="none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</a:br>
                      <a:br>
                        <a:rPr lang="en-US" sz="1200" b="1" u="none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</a:br>
                      <a:br>
                        <a:rPr lang="en-US" sz="1200" b="1" u="none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</a:br>
                      <a:br>
                        <a:rPr lang="en-US" sz="1200" b="1" u="none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</a:br>
                      <a:br>
                        <a:rPr lang="en-US" sz="1200" b="1" u="none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</a:br>
                      <a:br>
                        <a:rPr lang="en-US" sz="1200" b="1" u="none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</a:br>
                      <a:br>
                        <a:rPr lang="en-US" sz="1200" b="1" u="none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</a:br>
                      <a:r>
                        <a:rPr lang="en-US" sz="1300" b="1" u="none" baseline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j-lt"/>
                          <a:cs typeface="Arial" panose="020B0604020202020204" pitchFamily="34" charset="0"/>
                        </a:rPr>
                        <a:t>Senior </a:t>
                      </a:r>
                      <a:br>
                        <a:rPr lang="en-US" sz="1300" b="1" u="none" baseline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j-lt"/>
                          <a:cs typeface="Arial" panose="020B0604020202020204" pitchFamily="34" charset="0"/>
                        </a:rPr>
                      </a:br>
                      <a:r>
                        <a:rPr lang="en-US" sz="1300" b="1" u="none" baseline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j-lt"/>
                          <a:cs typeface="Arial" panose="020B0604020202020204" pitchFamily="34" charset="0"/>
                        </a:rPr>
                        <a:t>Deputy Vice Chairman </a:t>
                      </a:r>
                      <a:br>
                        <a:rPr lang="en-US" sz="1300" b="1" u="none" baseline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j-lt"/>
                          <a:cs typeface="Arial" panose="020B0604020202020204" pitchFamily="34" charset="0"/>
                        </a:rPr>
                      </a:br>
                      <a:r>
                        <a:rPr lang="en-US" sz="1300" b="0" u="none" baseline="0" dirty="0">
                          <a:solidFill>
                            <a:schemeClr val="bg1">
                              <a:lumMod val="95000"/>
                            </a:schemeClr>
                          </a:solidFill>
                          <a:latin typeface="+mj-lt"/>
                          <a:cs typeface="Arial" panose="020B0604020202020204" pitchFamily="34" charset="0"/>
                        </a:rPr>
                        <a:t> Chris Santoro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60" name="Picture 59">
            <a:extLst>
              <a:ext uri="{FF2B5EF4-FFF2-40B4-BE49-F238E27FC236}">
                <a16:creationId xmlns:a16="http://schemas.microsoft.com/office/drawing/2014/main" id="{7CD2386B-B526-4A7B-97E2-014497424A81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246" t="15434" r="23289" b="37733"/>
          <a:stretch/>
        </p:blipFill>
        <p:spPr>
          <a:xfrm>
            <a:off x="5628415" y="4636848"/>
            <a:ext cx="1129365" cy="1295926"/>
          </a:xfrm>
          <a:prstGeom prst="rect">
            <a:avLst/>
          </a:prstGeom>
        </p:spPr>
      </p:pic>
      <p:graphicFrame>
        <p:nvGraphicFramePr>
          <p:cNvPr id="61" name="Table 60">
            <a:extLst>
              <a:ext uri="{FF2B5EF4-FFF2-40B4-BE49-F238E27FC236}">
                <a16:creationId xmlns:a16="http://schemas.microsoft.com/office/drawing/2014/main" id="{25E600F1-05F3-455D-91DF-E3CF4796ACC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4015612"/>
              </p:ext>
            </p:extLst>
          </p:nvPr>
        </p:nvGraphicFramePr>
        <p:xfrm>
          <a:off x="3382580" y="5015714"/>
          <a:ext cx="1724278" cy="17863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2427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786368"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endParaRPr lang="en-US" sz="1200" b="1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>
                        <a:spcBef>
                          <a:spcPts val="600"/>
                        </a:spcBef>
                      </a:pPr>
                      <a:endParaRPr lang="en-US" sz="1200" b="1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>
                        <a:spcBef>
                          <a:spcPts val="600"/>
                        </a:spcBef>
                      </a:pPr>
                      <a:endParaRPr lang="en-US" sz="1200" b="1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>
                        <a:spcBef>
                          <a:spcPts val="600"/>
                        </a:spcBef>
                      </a:pPr>
                      <a:endParaRPr lang="en-US" sz="1200" b="1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>
                        <a:spcBef>
                          <a:spcPts val="600"/>
                        </a:spcBef>
                      </a:pPr>
                      <a:endParaRPr lang="en-US" sz="1200" b="1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200" b="1" u="none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Deputy Vice Chairman </a:t>
                      </a:r>
                      <a:br>
                        <a:rPr lang="en-US" sz="1200" b="1" u="none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</a:br>
                      <a:r>
                        <a:rPr lang="en-US" sz="1200" b="1" u="none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b="0" u="none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Tom Rodrigue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66" name="Table 65">
            <a:extLst>
              <a:ext uri="{FF2B5EF4-FFF2-40B4-BE49-F238E27FC236}">
                <a16:creationId xmlns:a16="http://schemas.microsoft.com/office/drawing/2014/main" id="{A035990E-A3A9-4F57-973F-5ADCFE6150A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89437487"/>
              </p:ext>
            </p:extLst>
          </p:nvPr>
        </p:nvGraphicFramePr>
        <p:xfrm>
          <a:off x="10524968" y="5015714"/>
          <a:ext cx="1628251" cy="17854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282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785401"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</a:pPr>
                      <a:br>
                        <a:rPr lang="en-US" sz="1200" b="1" u="none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</a:br>
                      <a:br>
                        <a:rPr lang="en-US" sz="1200" b="1" u="none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</a:br>
                      <a:br>
                        <a:rPr lang="en-US" sz="1200" b="1" u="none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</a:br>
                      <a:br>
                        <a:rPr lang="en-US" sz="1200" b="1" u="none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</a:br>
                      <a:br>
                        <a:rPr lang="en-US" sz="1200" b="1" u="none" baseline="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</a:br>
                      <a:endParaRPr lang="en-US" sz="1200" b="1" u="none" baseline="0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  <a:p>
                      <a:pPr algn="ctr">
                        <a:spcBef>
                          <a:spcPts val="600"/>
                        </a:spcBef>
                      </a:pPr>
                      <a:r>
                        <a:rPr lang="en-US" sz="1200" b="1" u="non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Deputy Vice Chairman </a:t>
                      </a:r>
                      <a:br>
                        <a:rPr lang="en-US" sz="1200" b="1" u="non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en-US" sz="1200" b="0" u="non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BD</a:t>
                      </a:r>
                      <a:endParaRPr lang="en-US" sz="1200" b="0" u="none" kern="1200" baseline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pic>
        <p:nvPicPr>
          <p:cNvPr id="71" name="Picture 70">
            <a:extLst>
              <a:ext uri="{FF2B5EF4-FFF2-40B4-BE49-F238E27FC236}">
                <a16:creationId xmlns:a16="http://schemas.microsoft.com/office/drawing/2014/main" id="{D16A5A4C-E320-4102-957B-4B921CEA5AFB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40" t="1968" r="11699" b="33030"/>
          <a:stretch/>
        </p:blipFill>
        <p:spPr>
          <a:xfrm>
            <a:off x="5593733" y="2744074"/>
            <a:ext cx="1077834" cy="122880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5AE97A0-8C5C-4294-9B7D-EF3C2249ECB9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48" t="12143" r="21629" b="37071"/>
          <a:stretch/>
        </p:blipFill>
        <p:spPr>
          <a:xfrm>
            <a:off x="3675386" y="5070378"/>
            <a:ext cx="1162336" cy="128016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B53DCE2-B7E6-4E10-9BA4-A3E8028FB425}"/>
              </a:ext>
            </a:extLst>
          </p:cNvPr>
          <p:cNvPicPr preferRelativeResize="0"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575" t="10865" r="23254" b="33964"/>
          <a:stretch/>
        </p:blipFill>
        <p:spPr>
          <a:xfrm>
            <a:off x="2028605" y="5080182"/>
            <a:ext cx="1059665" cy="1306892"/>
          </a:xfrm>
          <a:prstGeom prst="rect">
            <a:avLst/>
          </a:prstGeom>
        </p:spPr>
      </p:pic>
      <p:graphicFrame>
        <p:nvGraphicFramePr>
          <p:cNvPr id="38" name="Table 37">
            <a:extLst>
              <a:ext uri="{FF2B5EF4-FFF2-40B4-BE49-F238E27FC236}">
                <a16:creationId xmlns:a16="http://schemas.microsoft.com/office/drawing/2014/main" id="{B7207226-2258-408B-962E-4B8E4E8526AF}"/>
              </a:ext>
            </a:extLst>
          </p:cNvPr>
          <p:cNvGraphicFramePr>
            <a:graphicFrameLocks noGrp="1"/>
          </p:cNvGraphicFramePr>
          <p:nvPr/>
        </p:nvGraphicFramePr>
        <p:xfrm>
          <a:off x="3705465" y="3898262"/>
          <a:ext cx="1379436" cy="45140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79436">
                  <a:extLst>
                    <a:ext uri="{9D8B030D-6E8A-4147-A177-3AD203B41FA5}">
                      <a16:colId xmlns:a16="http://schemas.microsoft.com/office/drawing/2014/main" val="2006680081"/>
                    </a:ext>
                  </a:extLst>
                </a:gridCol>
              </a:tblGrid>
              <a:tr h="451409">
                <a:tc>
                  <a:txBody>
                    <a:bodyPr/>
                    <a:lstStyle/>
                    <a:p>
                      <a:pPr algn="ctr"/>
                      <a:r>
                        <a:rPr lang="en-US" sz="1050" b="1">
                          <a:solidFill>
                            <a:schemeClr val="tx1"/>
                          </a:solidFill>
                          <a:latin typeface="+mj-lt"/>
                          <a:cs typeface="Arial"/>
                        </a:rPr>
                        <a:t> Executive Assistant</a:t>
                      </a:r>
                    </a:p>
                    <a:p>
                      <a:pPr algn="ctr"/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  <a:cs typeface="Arial"/>
                        </a:rPr>
                        <a:t>Margaret Ridgeway</a:t>
                      </a:r>
                      <a:endParaRPr lang="en-US" sz="1050" b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2379178"/>
                  </a:ext>
                </a:extLst>
              </a:tr>
            </a:tbl>
          </a:graphicData>
        </a:graphic>
      </p:graphicFrame>
      <p:graphicFrame>
        <p:nvGraphicFramePr>
          <p:cNvPr id="39" name="Table 38">
            <a:extLst>
              <a:ext uri="{FF2B5EF4-FFF2-40B4-BE49-F238E27FC236}">
                <a16:creationId xmlns:a16="http://schemas.microsoft.com/office/drawing/2014/main" id="{4A04241A-5282-4414-8778-4C6652A2D6ED}"/>
              </a:ext>
            </a:extLst>
          </p:cNvPr>
          <p:cNvGraphicFramePr>
            <a:graphicFrameLocks noGrp="1"/>
          </p:cNvGraphicFramePr>
          <p:nvPr/>
        </p:nvGraphicFramePr>
        <p:xfrm>
          <a:off x="7227468" y="3395405"/>
          <a:ext cx="1017409" cy="42602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7409">
                  <a:extLst>
                    <a:ext uri="{9D8B030D-6E8A-4147-A177-3AD203B41FA5}">
                      <a16:colId xmlns:a16="http://schemas.microsoft.com/office/drawing/2014/main" val="2006680081"/>
                    </a:ext>
                  </a:extLst>
                </a:gridCol>
              </a:tblGrid>
              <a:tr h="426027">
                <a:tc>
                  <a:txBody>
                    <a:bodyPr/>
                    <a:lstStyle/>
                    <a:p>
                      <a:pPr algn="ctr"/>
                      <a:r>
                        <a:rPr lang="en-US" sz="1050" b="1">
                          <a:solidFill>
                            <a:schemeClr val="tx1"/>
                          </a:solidFill>
                          <a:latin typeface="+mj-lt"/>
                          <a:cs typeface="Arial"/>
                        </a:rPr>
                        <a:t>Budget Director</a:t>
                      </a:r>
                      <a:br>
                        <a:rPr lang="en-US" sz="1050" b="1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</a:br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  <a:cs typeface="Arial"/>
                        </a:rPr>
                        <a:t>Katy Mozing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2379178"/>
                  </a:ext>
                </a:extLst>
              </a:tr>
            </a:tbl>
          </a:graphicData>
        </a:graphic>
      </p:graphicFrame>
      <p:graphicFrame>
        <p:nvGraphicFramePr>
          <p:cNvPr id="63" name="Table 62">
            <a:extLst>
              <a:ext uri="{FF2B5EF4-FFF2-40B4-BE49-F238E27FC236}">
                <a16:creationId xmlns:a16="http://schemas.microsoft.com/office/drawing/2014/main" id="{FB84D0A4-ABDD-49F7-BFD8-22234E963660}"/>
              </a:ext>
            </a:extLst>
          </p:cNvPr>
          <p:cNvGraphicFramePr>
            <a:graphicFrameLocks noGrp="1"/>
          </p:cNvGraphicFramePr>
          <p:nvPr/>
        </p:nvGraphicFramePr>
        <p:xfrm>
          <a:off x="8043583" y="2002675"/>
          <a:ext cx="1915066" cy="5692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15066">
                  <a:extLst>
                    <a:ext uri="{9D8B030D-6E8A-4147-A177-3AD203B41FA5}">
                      <a16:colId xmlns:a16="http://schemas.microsoft.com/office/drawing/2014/main" val="2006680081"/>
                    </a:ext>
                  </a:extLst>
                </a:gridCol>
              </a:tblGrid>
              <a:tr h="569221">
                <a:tc>
                  <a:txBody>
                    <a:bodyPr/>
                    <a:lstStyle/>
                    <a:p>
                      <a:pPr algn="ctr"/>
                      <a:r>
                        <a:rPr lang="en-US" sz="1050" b="1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Strategic Engagement and Communications Director</a:t>
                      </a:r>
                    </a:p>
                    <a:p>
                      <a:pPr algn="ctr"/>
                      <a:r>
                        <a:rPr lang="en-US" sz="1050" b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Jill Snyder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2379178"/>
                  </a:ext>
                </a:extLst>
              </a:tr>
            </a:tbl>
          </a:graphicData>
        </a:graphic>
      </p:graphicFrame>
      <p:sp>
        <p:nvSpPr>
          <p:cNvPr id="30" name="TextBox 29">
            <a:extLst>
              <a:ext uri="{FF2B5EF4-FFF2-40B4-BE49-F238E27FC236}">
                <a16:creationId xmlns:a16="http://schemas.microsoft.com/office/drawing/2014/main" id="{D84FE838-6D1C-4071-B2A5-BDA77D918BED}"/>
              </a:ext>
            </a:extLst>
          </p:cNvPr>
          <p:cNvSpPr txBox="1"/>
          <p:nvPr/>
        </p:nvSpPr>
        <p:spPr>
          <a:xfrm>
            <a:off x="5418504" y="7049784"/>
            <a:ext cx="156332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i="1"/>
              <a:t>Updated 9 Feb 2022 by RBC</a:t>
            </a:r>
          </a:p>
        </p:txBody>
      </p:sp>
      <p:pic>
        <p:nvPicPr>
          <p:cNvPr id="33" name="Picture 32" descr="A person in front of a flag&#10;&#10;Description automatically generated with low confidence">
            <a:extLst>
              <a:ext uri="{FF2B5EF4-FFF2-40B4-BE49-F238E27FC236}">
                <a16:creationId xmlns:a16="http://schemas.microsoft.com/office/drawing/2014/main" id="{BCDCF2D0-5223-4AE9-9AC0-D59D0F37EA50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529" t="8143" r="20530" b="31382"/>
          <a:stretch/>
        </p:blipFill>
        <p:spPr>
          <a:xfrm>
            <a:off x="5579433" y="736154"/>
            <a:ext cx="1115183" cy="1318486"/>
          </a:xfrm>
          <a:prstGeom prst="rect">
            <a:avLst/>
          </a:prstGeom>
        </p:spPr>
      </p:pic>
      <p:pic>
        <p:nvPicPr>
          <p:cNvPr id="7" name="Picture 6" descr="A person in a suit and tie&#10;&#10;Description automatically generated with low confidence">
            <a:extLst>
              <a:ext uri="{FF2B5EF4-FFF2-40B4-BE49-F238E27FC236}">
                <a16:creationId xmlns:a16="http://schemas.microsoft.com/office/drawing/2014/main" id="{67FD20AB-0930-428D-ADE3-AD4C5ADA807C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96" t="9169" r="14480" b="32225"/>
          <a:stretch/>
        </p:blipFill>
        <p:spPr>
          <a:xfrm>
            <a:off x="384518" y="5086190"/>
            <a:ext cx="1102180" cy="1285184"/>
          </a:xfrm>
          <a:prstGeom prst="rect">
            <a:avLst/>
          </a:prstGeom>
        </p:spPr>
      </p:pic>
      <p:pic>
        <p:nvPicPr>
          <p:cNvPr id="45060" name="Picture 4">
            <a:extLst>
              <a:ext uri="{FF2B5EF4-FFF2-40B4-BE49-F238E27FC236}">
                <a16:creationId xmlns:a16="http://schemas.microsoft.com/office/drawing/2014/main" id="{357A06A1-2EAF-4637-8DCF-427C5A7C3F4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4660"/>
          <a:stretch/>
        </p:blipFill>
        <p:spPr bwMode="auto">
          <a:xfrm>
            <a:off x="7506173" y="5072661"/>
            <a:ext cx="1198019" cy="12755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287B97BD-063B-45F5-AAB4-A01AF78622A1}"/>
              </a:ext>
            </a:extLst>
          </p:cNvPr>
          <p:cNvSpPr/>
          <p:nvPr/>
        </p:nvSpPr>
        <p:spPr>
          <a:xfrm>
            <a:off x="10861732" y="5166804"/>
            <a:ext cx="883425" cy="101632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94177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5DD9750-494B-4B20-83CC-B33AAF9E09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4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E2D1F7C-5DF2-4E64-82A8-ECEB2AFAB3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Board of Veterans’ Appeals</a:t>
            </a: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F22A8A42-C4C8-49D7-AE01-4EF51F609B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8533" y="745175"/>
            <a:ext cx="1114934" cy="856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Content Placeholder 1">
            <a:extLst>
              <a:ext uri="{FF2B5EF4-FFF2-40B4-BE49-F238E27FC236}">
                <a16:creationId xmlns:a16="http://schemas.microsoft.com/office/drawing/2014/main" id="{296CF87D-181F-4148-B11F-B990546AC9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72358" y="2895398"/>
            <a:ext cx="11155239" cy="1763391"/>
          </a:xfrm>
        </p:spPr>
        <p:txBody>
          <a:bodyPr>
            <a:normAutofit/>
          </a:bodyPr>
          <a:lstStyle/>
          <a:p>
            <a:pPr lvl="0" defTabSz="914400">
              <a:spcBef>
                <a:spcPts val="60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000000"/>
                </a:solidFill>
              </a:rPr>
              <a:t>Responsible for resolving appeals on behalf of the Secretary for Veterans benefits and services.</a:t>
            </a:r>
          </a:p>
          <a:p>
            <a:pPr lvl="0" defTabSz="914400">
              <a:spcBef>
                <a:spcPts val="60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000000"/>
                </a:solidFill>
              </a:rPr>
              <a:t>Strengthening employee and customer experience through strong partnerships with labor relations representatives, Veterans Service Organizations, private bar, Veteran advocates and the Hill. </a:t>
            </a:r>
          </a:p>
          <a:p>
            <a:pPr lvl="0" defTabSz="914400">
              <a:spcBef>
                <a:spcPts val="600"/>
              </a:spcBef>
              <a:spcAft>
                <a:spcPts val="800"/>
              </a:spcAft>
              <a:buFont typeface="Arial" panose="020B0604020202020204" pitchFamily="34" charset="0"/>
              <a:buChar char="•"/>
              <a:defRPr/>
            </a:pPr>
            <a:r>
              <a:rPr lang="en-US" sz="1400" dirty="0">
                <a:solidFill>
                  <a:srgbClr val="000000"/>
                </a:solidFill>
              </a:rPr>
              <a:t>Collaborate across the Department by working closely with the 3 administrations and OGC as well as OSVA, COS, OIT, VEO, OCLA, OPIA, and OALC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E4AE05E-A083-4814-AA64-E61BA256934D}"/>
              </a:ext>
            </a:extLst>
          </p:cNvPr>
          <p:cNvSpPr/>
          <p:nvPr/>
        </p:nvSpPr>
        <p:spPr>
          <a:xfrm>
            <a:off x="0" y="4365965"/>
            <a:ext cx="12192000" cy="1763391"/>
          </a:xfrm>
          <a:prstGeom prst="rect">
            <a:avLst/>
          </a:prstGeom>
          <a:solidFill>
            <a:srgbClr val="044E8A"/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lIns="91440" tIns="45720" rIns="91440" bIns="4572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811F7C4-40F4-4D4C-BA39-76BBFE13AA19}"/>
              </a:ext>
            </a:extLst>
          </p:cNvPr>
          <p:cNvSpPr txBox="1"/>
          <p:nvPr/>
        </p:nvSpPr>
        <p:spPr>
          <a:xfrm>
            <a:off x="485531" y="5123361"/>
            <a:ext cx="3405996" cy="83099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009A46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2400" b="1" dirty="0">
                <a:solidFill>
                  <a:srgbClr val="009A46"/>
                </a:solidFill>
              </a:rPr>
              <a:t>52,131 </a:t>
            </a:r>
          </a:p>
          <a:p>
            <a:pPr algn="ctr"/>
            <a:r>
              <a:rPr lang="en-US" sz="2400" b="1" dirty="0">
                <a:solidFill>
                  <a:srgbClr val="009A46"/>
                </a:solidFill>
              </a:rPr>
              <a:t>Decisions FYTD 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E421ECF-DAE5-44AF-97B3-2DA395CD0859}"/>
              </a:ext>
            </a:extLst>
          </p:cNvPr>
          <p:cNvSpPr txBox="1"/>
          <p:nvPr/>
        </p:nvSpPr>
        <p:spPr>
          <a:xfrm>
            <a:off x="4348851" y="5123870"/>
            <a:ext cx="3494297" cy="83099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009A46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2400" b="1" dirty="0">
                <a:solidFill>
                  <a:srgbClr val="009A46"/>
                </a:solidFill>
              </a:rPr>
              <a:t>199,843 </a:t>
            </a:r>
          </a:p>
          <a:p>
            <a:pPr algn="ctr"/>
            <a:r>
              <a:rPr lang="en-US" sz="2400" b="1" dirty="0">
                <a:solidFill>
                  <a:srgbClr val="009A46"/>
                </a:solidFill>
              </a:rPr>
              <a:t>Appeals Pending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863C1C3-2A58-469F-80A5-ACBCBEE7E08D}"/>
              </a:ext>
            </a:extLst>
          </p:cNvPr>
          <p:cNvSpPr txBox="1"/>
          <p:nvPr/>
        </p:nvSpPr>
        <p:spPr>
          <a:xfrm>
            <a:off x="8344523" y="5123361"/>
            <a:ext cx="3494297" cy="83099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rgbClr val="009A46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2400" b="1" dirty="0">
                <a:solidFill>
                  <a:srgbClr val="009A46"/>
                </a:solidFill>
              </a:rPr>
              <a:t>77,068 Hearings Pending (14,228 Legacy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F246E8B-E5AC-44CE-AD88-ACC78E9820B3}"/>
              </a:ext>
            </a:extLst>
          </p:cNvPr>
          <p:cNvSpPr txBox="1"/>
          <p:nvPr/>
        </p:nvSpPr>
        <p:spPr>
          <a:xfrm>
            <a:off x="3282834" y="4437520"/>
            <a:ext cx="5918608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 FY 2022 Metrics through April 24</a:t>
            </a:r>
            <a:r>
              <a:rPr kumimoji="0" lang="en-US" sz="2800" b="1" i="0" u="none" strike="noStrike" kern="0" cap="none" spc="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</a:t>
            </a: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*</a:t>
            </a:r>
          </a:p>
          <a:p>
            <a:endParaRPr lang="en-US" sz="28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097BC34-CEC3-432F-B452-A848C5F29460}"/>
              </a:ext>
            </a:extLst>
          </p:cNvPr>
          <p:cNvSpPr txBox="1"/>
          <p:nvPr/>
        </p:nvSpPr>
        <p:spPr>
          <a:xfrm>
            <a:off x="154112" y="1601996"/>
            <a:ext cx="11941128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rgbClr val="000000"/>
                </a:solidFill>
              </a:rPr>
              <a:t>The Board’s mission is to conduct hearings and decide appeals in a timely manner. </a:t>
            </a:r>
            <a:br>
              <a:rPr lang="en-US" sz="2000" b="1" dirty="0">
                <a:solidFill>
                  <a:srgbClr val="000000"/>
                </a:solidFill>
              </a:rPr>
            </a:br>
            <a:endParaRPr lang="en-US" sz="600" b="1" dirty="0">
              <a:solidFill>
                <a:srgbClr val="000000"/>
              </a:solidFill>
            </a:endParaRPr>
          </a:p>
          <a:p>
            <a:pPr algn="ctr"/>
            <a:r>
              <a:rPr lang="en-US" sz="2000" b="1" dirty="0">
                <a:solidFill>
                  <a:srgbClr val="000000"/>
                </a:solidFill>
              </a:rPr>
              <a:t>The Board supports VA’s mission of commitment to and advocacy for Veterans </a:t>
            </a:r>
          </a:p>
          <a:p>
            <a:pPr algn="ctr"/>
            <a:r>
              <a:rPr lang="en-US" sz="2000" b="1" dirty="0">
                <a:solidFill>
                  <a:srgbClr val="000000"/>
                </a:solidFill>
              </a:rPr>
              <a:t>by providing benefits and services to Veterans and their families through appellate decisions.</a:t>
            </a: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158922969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8D4330E-9853-4089-A1EB-C4A5C65BA7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83F1FA-211D-3044-9E35-958DFBC26156}" type="slidenum">
              <a:rPr kumimoji="0" lang="en-US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57BE3A5-4B8D-45E3-B236-60DC799C01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Total Appeals and Hearing Requests Pending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D0D3554-E1BF-48FD-BF66-CCE7503F57B4}"/>
              </a:ext>
            </a:extLst>
          </p:cNvPr>
          <p:cNvSpPr txBox="1"/>
          <p:nvPr/>
        </p:nvSpPr>
        <p:spPr>
          <a:xfrm>
            <a:off x="0" y="5832564"/>
            <a:ext cx="1659429" cy="261610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ta as of:  April 24, </a:t>
            </a:r>
            <a:r>
              <a:rPr lang="en-US" sz="1100">
                <a:solidFill>
                  <a:srgbClr val="000000"/>
                </a:solidFill>
                <a:latin typeface="Calibri"/>
              </a:rPr>
              <a:t>2022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49854EF-0DE8-46A6-97B7-816DBFB0490B}"/>
              </a:ext>
            </a:extLst>
          </p:cNvPr>
          <p:cNvSpPr txBox="1"/>
          <p:nvPr/>
        </p:nvSpPr>
        <p:spPr>
          <a:xfrm>
            <a:off x="2969994" y="5248438"/>
            <a:ext cx="649985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9% of Appeals Pending Require a Hearing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E57E445-D834-415B-89FD-0D4FE0C58E1F}"/>
              </a:ext>
            </a:extLst>
          </p:cNvPr>
          <p:cNvSpPr txBox="1"/>
          <p:nvPr/>
        </p:nvSpPr>
        <p:spPr>
          <a:xfrm>
            <a:off x="3998350" y="921972"/>
            <a:ext cx="4281846" cy="138499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rtl="0">
              <a:defRPr sz="28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sz="3200" dirty="0"/>
              <a:t>199,843 as of April 24th</a:t>
            </a:r>
            <a:endParaRPr lang="en-US" sz="3200" baseline="0" dirty="0">
              <a:solidFill>
                <a:schemeClr val="tx1"/>
              </a:solidFill>
            </a:endParaRPr>
          </a:p>
          <a:p>
            <a:pPr>
              <a:defRPr sz="28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sz="2800" dirty="0">
                <a:latin typeface="Calibri Light" panose="020F0302020204030204" pitchFamily="34" charset="0"/>
                <a:cs typeface="Calibri Light" panose="020F0302020204030204" pitchFamily="34" charset="0"/>
              </a:rPr>
              <a:t>	</a:t>
            </a:r>
            <a:r>
              <a:rPr lang="en-US" sz="2400" baseline="0" dirty="0">
                <a:latin typeface="Calibri Light" panose="020F0302020204030204" pitchFamily="34" charset="0"/>
                <a:cs typeface="Calibri Light" panose="020F0302020204030204" pitchFamily="34" charset="0"/>
              </a:rPr>
              <a:t>AMA:</a:t>
            </a:r>
            <a:r>
              <a:rPr lang="en-US" sz="2400" dirty="0">
                <a:latin typeface="Calibri Light" panose="020F0302020204030204" pitchFamily="34" charset="0"/>
                <a:cs typeface="Calibri Light" panose="020F0302020204030204" pitchFamily="34" charset="0"/>
              </a:rPr>
              <a:t>   127,156</a:t>
            </a:r>
            <a:endParaRPr lang="en-US" sz="2400" baseline="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defRPr sz="28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sz="2400" dirty="0">
                <a:latin typeface="Calibri Light" panose="020F0302020204030204" pitchFamily="34" charset="0"/>
                <a:cs typeface="Calibri Light" panose="020F0302020204030204" pitchFamily="34" charset="0"/>
              </a:rPr>
              <a:t>          </a:t>
            </a:r>
            <a:r>
              <a:rPr lang="en-US" sz="2400" baseline="0" dirty="0">
                <a:latin typeface="Calibri Light" panose="020F0302020204030204" pitchFamily="34" charset="0"/>
                <a:cs typeface="Calibri Light" panose="020F0302020204030204" pitchFamily="34" charset="0"/>
              </a:rPr>
              <a:t>Legacy:</a:t>
            </a:r>
            <a:r>
              <a:rPr lang="en-US" sz="2400" dirty="0">
                <a:latin typeface="Calibri Light" panose="020F0302020204030204" pitchFamily="34" charset="0"/>
                <a:cs typeface="Calibri Light" panose="020F0302020204030204" pitchFamily="34" charset="0"/>
              </a:rPr>
              <a:t>      72,687</a:t>
            </a:r>
            <a:endParaRPr lang="en-US" sz="36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D1974405-377D-43DC-8612-4B00C35B4AE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49950191"/>
              </p:ext>
            </p:extLst>
          </p:nvPr>
        </p:nvGraphicFramePr>
        <p:xfrm>
          <a:off x="439726" y="1881596"/>
          <a:ext cx="11399094" cy="32161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5157842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F85F637-642C-492B-B0C2-7778DCA50E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5667" y="4419600"/>
            <a:ext cx="10244667" cy="1422400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69D6395-C04A-4F0E-B757-B48544F0B0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12B422-ADD4-4612-A80D-1D146D1ABDA8}" type="slidenum">
              <a:rPr lang="en-US" smtClean="0"/>
              <a:t>6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27B9D1D-4087-4A42-8ED2-E6388041A0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Legacy and AMA Hearings Held To Date FY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0238B624-8881-4AEA-B29E-500CAC4AE4E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1502267"/>
              </p:ext>
            </p:extLst>
          </p:nvPr>
        </p:nvGraphicFramePr>
        <p:xfrm>
          <a:off x="2416821" y="1658457"/>
          <a:ext cx="6965878" cy="51995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518DBE10-5E8E-47B9-BD8F-0BB4F314A89A}"/>
              </a:ext>
            </a:extLst>
          </p:cNvPr>
          <p:cNvSpPr txBox="1"/>
          <p:nvPr/>
        </p:nvSpPr>
        <p:spPr>
          <a:xfrm>
            <a:off x="5668151" y="695275"/>
            <a:ext cx="1943160" cy="126188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800" b="1" dirty="0">
                <a:solidFill>
                  <a:srgbClr val="009A46"/>
                </a:solidFill>
              </a:rPr>
              <a:t>17,943</a:t>
            </a:r>
          </a:p>
          <a:p>
            <a:pPr algn="ctr"/>
            <a:r>
              <a:rPr lang="en-US" sz="2800" dirty="0"/>
              <a:t>86% Virtua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C7665FD-A764-44B3-A467-38A519DE54E1}"/>
              </a:ext>
            </a:extLst>
          </p:cNvPr>
          <p:cNvSpPr txBox="1"/>
          <p:nvPr/>
        </p:nvSpPr>
        <p:spPr>
          <a:xfrm>
            <a:off x="0" y="5832564"/>
            <a:ext cx="1659429" cy="261610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ta as of:  April 24, </a:t>
            </a:r>
            <a:r>
              <a:rPr lang="en-US" sz="1100">
                <a:solidFill>
                  <a:srgbClr val="000000"/>
                </a:solidFill>
                <a:latin typeface="Calibri"/>
              </a:rPr>
              <a:t>2022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08267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70D2304-45F4-4BC8-9F3D-EDF0A00952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12B422-ADD4-4612-A80D-1D146D1ABDA8}" type="slidenum">
              <a:rPr lang="en-US" smtClean="0"/>
              <a:t>7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B0B5B2C-CF3E-4382-811F-A75021030D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Legacy Appeals Pending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065C434E-1B18-4762-A2A3-37EE28EE9BC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00512620"/>
              </p:ext>
            </p:extLst>
          </p:nvPr>
        </p:nvGraphicFramePr>
        <p:xfrm>
          <a:off x="779295" y="754014"/>
          <a:ext cx="10633408" cy="38272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Table 8">
            <a:extLst>
              <a:ext uri="{FF2B5EF4-FFF2-40B4-BE49-F238E27FC236}">
                <a16:creationId xmlns:a16="http://schemas.microsoft.com/office/drawing/2014/main" id="{9932040E-813E-4A66-8605-CB52B67CFF6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8098684"/>
              </p:ext>
            </p:extLst>
          </p:nvPr>
        </p:nvGraphicFramePr>
        <p:xfrm>
          <a:off x="1288473" y="4806868"/>
          <a:ext cx="10124230" cy="1066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94245">
                  <a:extLst>
                    <a:ext uri="{9D8B030D-6E8A-4147-A177-3AD203B41FA5}">
                      <a16:colId xmlns:a16="http://schemas.microsoft.com/office/drawing/2014/main" val="314785909"/>
                    </a:ext>
                  </a:extLst>
                </a:gridCol>
                <a:gridCol w="6529985">
                  <a:extLst>
                    <a:ext uri="{9D8B030D-6E8A-4147-A177-3AD203B41FA5}">
                      <a16:colId xmlns:a16="http://schemas.microsoft.com/office/drawing/2014/main" val="194704896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800" b="1" dirty="0"/>
                        <a:t>Legacy Resolution </a:t>
                      </a:r>
                    </a:p>
                    <a:p>
                      <a:pPr algn="ctr"/>
                      <a:r>
                        <a:rPr lang="en-US" sz="2800" b="1" dirty="0"/>
                        <a:t>Prioritization</a:t>
                      </a:r>
                    </a:p>
                  </a:txBody>
                  <a:tcPr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742950" lvl="1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74% reduction in appeals pending since end of FY 2018</a:t>
                      </a:r>
                    </a:p>
                    <a:p>
                      <a:pPr marL="1657350" lvl="3" indent="-285750">
                        <a:buFont typeface="Wingdings" panose="05000000000000000000" pitchFamily="2" charset="2"/>
                        <a:buChar char="ü"/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   238,000+ less VBA appeals pending</a:t>
                      </a:r>
                    </a:p>
                    <a:p>
                      <a:pPr marL="1657350" lvl="3" indent="-285750">
                        <a:buFont typeface="Wingdings" panose="05000000000000000000" pitchFamily="2" charset="2"/>
                        <a:buChar char="ü"/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</a:rPr>
                        <a:t>   62,000+ less Board appeals pending</a:t>
                      </a:r>
                    </a:p>
                    <a:p>
                      <a:pPr marL="742950" lvl="1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</a:rPr>
                        <a:t>106,731 remain pending; 48%+ are remanded appeals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7950725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6DECA921-D06B-4CB5-996A-2792E6868037}"/>
              </a:ext>
            </a:extLst>
          </p:cNvPr>
          <p:cNvSpPr txBox="1"/>
          <p:nvPr/>
        </p:nvSpPr>
        <p:spPr>
          <a:xfrm>
            <a:off x="17183" y="5934970"/>
            <a:ext cx="269176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ta as of:  March 2022.  Updated monthly.</a:t>
            </a:r>
          </a:p>
        </p:txBody>
      </p:sp>
    </p:spTree>
    <p:extLst>
      <p:ext uri="{BB962C8B-B14F-4D97-AF65-F5344CB8AC3E}">
        <p14:creationId xmlns:p14="http://schemas.microsoft.com/office/powerpoint/2010/main" val="10451853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260FB7-CAB8-4C19-AD48-C4E2023191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4000"/>
              <a:t> Appeals Modernization Act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032CEE5-83EF-4C0F-86A2-3C408F922551}"/>
              </a:ext>
            </a:extLst>
          </p:cNvPr>
          <p:cNvCxnSpPr/>
          <p:nvPr/>
        </p:nvCxnSpPr>
        <p:spPr>
          <a:xfrm>
            <a:off x="7126664" y="881563"/>
            <a:ext cx="0" cy="520610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6D8D9AF4-92D7-43AD-88D3-F0F1C4065AD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04302249"/>
              </p:ext>
            </p:extLst>
          </p:nvPr>
        </p:nvGraphicFramePr>
        <p:xfrm>
          <a:off x="0" y="655320"/>
          <a:ext cx="6569353" cy="51579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767C693C-FF57-47DC-81D7-8BDE083A0F7A}"/>
              </a:ext>
            </a:extLst>
          </p:cNvPr>
          <p:cNvSpPr txBox="1"/>
          <p:nvPr/>
        </p:nvSpPr>
        <p:spPr>
          <a:xfrm>
            <a:off x="7197908" y="1303010"/>
            <a:ext cx="506723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/>
              <a:t>Appeals Pending by Lane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C47BE69F-339F-44E5-986B-8B6F86A065A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45256594"/>
              </p:ext>
            </p:extLst>
          </p:nvPr>
        </p:nvGraphicFramePr>
        <p:xfrm>
          <a:off x="6835805" y="1047565"/>
          <a:ext cx="5706113" cy="50622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FD102B94-7FB8-423D-9555-61FEAF858ACF}"/>
              </a:ext>
            </a:extLst>
          </p:cNvPr>
          <p:cNvSpPr txBox="1"/>
          <p:nvPr/>
        </p:nvSpPr>
        <p:spPr>
          <a:xfrm>
            <a:off x="0" y="5832564"/>
            <a:ext cx="165942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ta as of:  April 24</a:t>
            </a:r>
            <a:r>
              <a:rPr lang="en-US" sz="1100" i="1">
                <a:solidFill>
                  <a:schemeClr val="accent5"/>
                </a:solidFill>
                <a:latin typeface="Calibri"/>
              </a:rPr>
              <a:t>, 2022</a:t>
            </a:r>
            <a:endParaRPr kumimoji="0" lang="en-US" sz="1100" b="0" i="1" u="none" strike="noStrike" kern="1200" cap="none" spc="0" normalizeH="0" baseline="0" noProof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6C7F11C2-580E-4A6F-A45F-4E44BAE6AD5F}"/>
              </a:ext>
            </a:extLst>
          </p:cNvPr>
          <p:cNvSpPr txBox="1">
            <a:spLocks/>
          </p:cNvSpPr>
          <p:nvPr/>
        </p:nvSpPr>
        <p:spPr>
          <a:xfrm>
            <a:off x="11582400" y="6400233"/>
            <a:ext cx="51284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8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D9B86C9-C7DC-49A4-80B1-02BBFBE59942}"/>
              </a:ext>
            </a:extLst>
          </p:cNvPr>
          <p:cNvSpPr txBox="1"/>
          <p:nvPr/>
        </p:nvSpPr>
        <p:spPr>
          <a:xfrm>
            <a:off x="0" y="6373787"/>
            <a:ext cx="12192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>
                <a:solidFill>
                  <a:prstClr val="white"/>
                </a:solidFill>
              </a:rPr>
              <a:t>Pre-Decision Deliberative Document – Internal VA Use Onl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48816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D1797315-1CB8-4697-9386-3B5D7315818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83265229"/>
              </p:ext>
            </p:extLst>
          </p:nvPr>
        </p:nvGraphicFramePr>
        <p:xfrm>
          <a:off x="2708946" y="655320"/>
          <a:ext cx="8712484" cy="31496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259948F-2BA1-48EC-AAA9-F2B3E36208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/>
              <a:t>Legacy Appeals – Resolution Rates (Board)</a:t>
            </a: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D81A3D42-E30F-4CD8-B5D2-651B36212D8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4520170"/>
              </p:ext>
            </p:extLst>
          </p:nvPr>
        </p:nvGraphicFramePr>
        <p:xfrm>
          <a:off x="954315" y="3209400"/>
          <a:ext cx="10283369" cy="2743200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2053769">
                  <a:extLst>
                    <a:ext uri="{9D8B030D-6E8A-4147-A177-3AD203B41FA5}">
                      <a16:colId xmlns:a16="http://schemas.microsoft.com/office/drawing/2014/main" val="2343573477"/>
                    </a:ext>
                  </a:extLst>
                </a:gridCol>
                <a:gridCol w="1645920">
                  <a:extLst>
                    <a:ext uri="{9D8B030D-6E8A-4147-A177-3AD203B41FA5}">
                      <a16:colId xmlns:a16="http://schemas.microsoft.com/office/drawing/2014/main" val="214995927"/>
                    </a:ext>
                  </a:extLst>
                </a:gridCol>
                <a:gridCol w="1645920">
                  <a:extLst>
                    <a:ext uri="{9D8B030D-6E8A-4147-A177-3AD203B41FA5}">
                      <a16:colId xmlns:a16="http://schemas.microsoft.com/office/drawing/2014/main" val="1647907454"/>
                    </a:ext>
                  </a:extLst>
                </a:gridCol>
                <a:gridCol w="1645920">
                  <a:extLst>
                    <a:ext uri="{9D8B030D-6E8A-4147-A177-3AD203B41FA5}">
                      <a16:colId xmlns:a16="http://schemas.microsoft.com/office/drawing/2014/main" val="1248407684"/>
                    </a:ext>
                  </a:extLst>
                </a:gridCol>
                <a:gridCol w="1645920">
                  <a:extLst>
                    <a:ext uri="{9D8B030D-6E8A-4147-A177-3AD203B41FA5}">
                      <a16:colId xmlns:a16="http://schemas.microsoft.com/office/drawing/2014/main" val="4056657516"/>
                    </a:ext>
                  </a:extLst>
                </a:gridCol>
                <a:gridCol w="1645920">
                  <a:extLst>
                    <a:ext uri="{9D8B030D-6E8A-4147-A177-3AD203B41FA5}">
                      <a16:colId xmlns:a16="http://schemas.microsoft.com/office/drawing/2014/main" val="3645520492"/>
                    </a:ext>
                  </a:extLst>
                </a:gridCol>
              </a:tblGrid>
              <a:tr h="419637">
                <a:tc>
                  <a:txBody>
                    <a:bodyPr/>
                    <a:lstStyle/>
                    <a:p>
                      <a:pPr algn="ctr"/>
                      <a:r>
                        <a:rPr lang="en-US" sz="1600"/>
                        <a:t>Board Appeal Dispositions</a:t>
                      </a:r>
                    </a:p>
                  </a:txBody>
                  <a:tcP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FY 2018</a:t>
                      </a:r>
                    </a:p>
                  </a:txBody>
                  <a:tcP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FY 2019</a:t>
                      </a:r>
                    </a:p>
                  </a:txBody>
                  <a:tcP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FY 2020</a:t>
                      </a:r>
                    </a:p>
                  </a:txBody>
                  <a:tcP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FY 2021</a:t>
                      </a:r>
                    </a:p>
                  </a:txBody>
                  <a:tcP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FY 2022</a:t>
                      </a:r>
                    </a:p>
                    <a:p>
                      <a:pPr algn="ctr"/>
                      <a:r>
                        <a:rPr lang="en-US" sz="1400"/>
                        <a:t>(thru Mar)</a:t>
                      </a:r>
                    </a:p>
                  </a:txBody>
                  <a:tcP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4417761"/>
                  </a:ext>
                </a:extLst>
              </a:tr>
              <a:tr h="246845"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Allowed w/ no remands*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16,72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17,5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15,92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15,346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6,7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96894490"/>
                  </a:ext>
                </a:extLst>
              </a:tr>
              <a:tr h="246845"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Denied w/ no reman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7,8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19,4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17,33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17,05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6,26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11346069"/>
                  </a:ext>
                </a:extLst>
              </a:tr>
              <a:tr h="246845"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Remanded**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46,86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52,47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47,7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42,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20,13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14716954"/>
                  </a:ext>
                </a:extLst>
              </a:tr>
              <a:tr h="246845"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Other***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3,87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4,16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4,49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4,80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2,37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54729455"/>
                  </a:ext>
                </a:extLst>
              </a:tr>
              <a:tr h="246845">
                <a:tc>
                  <a:txBody>
                    <a:bodyPr/>
                    <a:lstStyle/>
                    <a:p>
                      <a:pPr algn="ctr"/>
                      <a:r>
                        <a:rPr lang="en-US" sz="1400" b="1"/>
                        <a:t>To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/>
                        <a:t>85,28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/>
                        <a:t>93,57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/>
                        <a:t>85,46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/>
                        <a:t>79,22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/>
                        <a:t>35,49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6740214"/>
                  </a:ext>
                </a:extLst>
              </a:tr>
              <a:tr h="518375">
                <a:tc gridSpan="6">
                  <a:txBody>
                    <a:bodyPr/>
                    <a:lstStyle/>
                    <a:p>
                      <a:pPr algn="l"/>
                      <a:r>
                        <a:rPr lang="en-US" sz="1200" dirty="0"/>
                        <a:t>*Allowed appeals may also contain 1 or more issues denied and do not include appeals with any remanded issues.</a:t>
                      </a:r>
                    </a:p>
                    <a:p>
                      <a:pPr algn="l"/>
                      <a:r>
                        <a:rPr lang="en-US" sz="1200" dirty="0"/>
                        <a:t>**Remanded appeals may also contain 1 or more issues allowed or denied.</a:t>
                      </a:r>
                    </a:p>
                    <a:p>
                      <a:pPr algn="l"/>
                      <a:r>
                        <a:rPr lang="en-US" sz="1200" dirty="0"/>
                        <a:t>***Dispositions other then allowed, denied, or remanded such as dismissals, motion for reconsideration, vacates.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6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6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6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60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6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0962204"/>
                  </a:ext>
                </a:extLst>
              </a:tr>
            </a:tbl>
          </a:graphicData>
        </a:graphic>
      </p:graphicFrame>
      <p:sp>
        <p:nvSpPr>
          <p:cNvPr id="8" name="TextBox 1">
            <a:extLst>
              <a:ext uri="{FF2B5EF4-FFF2-40B4-BE49-F238E27FC236}">
                <a16:creationId xmlns:a16="http://schemas.microsoft.com/office/drawing/2014/main" id="{371338BB-37A9-4213-8CCB-41CA72CB7EC3}"/>
              </a:ext>
            </a:extLst>
          </p:cNvPr>
          <p:cNvSpPr txBox="1"/>
          <p:nvPr/>
        </p:nvSpPr>
        <p:spPr>
          <a:xfrm>
            <a:off x="2233124" y="1166124"/>
            <a:ext cx="775699" cy="280776"/>
          </a:xfrm>
          <a:prstGeom prst="rect">
            <a:avLst/>
          </a:prstGeom>
          <a:solidFill>
            <a:srgbClr val="CDCDFF"/>
          </a:solidFill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i="1" dirty="0"/>
              <a:t>Remand</a:t>
            </a:r>
          </a:p>
        </p:txBody>
      </p:sp>
      <p:sp>
        <p:nvSpPr>
          <p:cNvPr id="9" name="TextBox 1">
            <a:extLst>
              <a:ext uri="{FF2B5EF4-FFF2-40B4-BE49-F238E27FC236}">
                <a16:creationId xmlns:a16="http://schemas.microsoft.com/office/drawing/2014/main" id="{2E5EE5FC-D550-4DB2-98AC-20037DED8122}"/>
              </a:ext>
            </a:extLst>
          </p:cNvPr>
          <p:cNvSpPr txBox="1"/>
          <p:nvPr/>
        </p:nvSpPr>
        <p:spPr>
          <a:xfrm>
            <a:off x="2233124" y="2135741"/>
            <a:ext cx="775699" cy="28077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i="1" dirty="0"/>
              <a:t>Denied</a:t>
            </a:r>
          </a:p>
        </p:txBody>
      </p:sp>
      <p:sp>
        <p:nvSpPr>
          <p:cNvPr id="10" name="TextBox 1">
            <a:extLst>
              <a:ext uri="{FF2B5EF4-FFF2-40B4-BE49-F238E27FC236}">
                <a16:creationId xmlns:a16="http://schemas.microsoft.com/office/drawing/2014/main" id="{3B3DB820-825A-466C-AF88-760596A40350}"/>
              </a:ext>
            </a:extLst>
          </p:cNvPr>
          <p:cNvSpPr txBox="1"/>
          <p:nvPr/>
        </p:nvSpPr>
        <p:spPr>
          <a:xfrm>
            <a:off x="2233124" y="2416517"/>
            <a:ext cx="775699" cy="28077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i="1"/>
              <a:t>Allowed</a:t>
            </a:r>
          </a:p>
        </p:txBody>
      </p:sp>
      <p:sp>
        <p:nvSpPr>
          <p:cNvPr id="11" name="TextBox 1">
            <a:extLst>
              <a:ext uri="{FF2B5EF4-FFF2-40B4-BE49-F238E27FC236}">
                <a16:creationId xmlns:a16="http://schemas.microsoft.com/office/drawing/2014/main" id="{BBD16FAA-A76C-4331-8B0F-F40BD905874E}"/>
              </a:ext>
            </a:extLst>
          </p:cNvPr>
          <p:cNvSpPr txBox="1"/>
          <p:nvPr/>
        </p:nvSpPr>
        <p:spPr>
          <a:xfrm>
            <a:off x="2233124" y="2713915"/>
            <a:ext cx="775699" cy="259451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i="1" dirty="0"/>
              <a:t>Other</a:t>
            </a:r>
          </a:p>
        </p:txBody>
      </p:sp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id="{26E992BF-ADDB-4477-B9A9-7F254EFD8A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2400" y="6400233"/>
            <a:ext cx="512840" cy="365125"/>
          </a:xfrm>
        </p:spPr>
        <p:txBody>
          <a:bodyPr/>
          <a:lstStyle/>
          <a:p>
            <a:fld id="{0312B422-ADD4-4612-A80D-1D146D1ABDA8}" type="slidenum">
              <a:rPr lang="en-US" smtClean="0"/>
              <a:t>9</a:t>
            </a:fld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A00FE58-47FA-433D-8996-85832DFF16E6}"/>
              </a:ext>
            </a:extLst>
          </p:cNvPr>
          <p:cNvSpPr txBox="1"/>
          <p:nvPr/>
        </p:nvSpPr>
        <p:spPr>
          <a:xfrm>
            <a:off x="17183" y="5934970"/>
            <a:ext cx="269176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ata as of:  March 2022.  Updated monthly.</a:t>
            </a:r>
          </a:p>
        </p:txBody>
      </p:sp>
    </p:spTree>
    <p:extLst>
      <p:ext uri="{BB962C8B-B14F-4D97-AF65-F5344CB8AC3E}">
        <p14:creationId xmlns:p14="http://schemas.microsoft.com/office/powerpoint/2010/main" val="35911855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NpGyHPRgmPcMgzYNCb.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Os9IHqSZuzl5yQO9zgf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LKF2QXRKeMDLsebjrOC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9RA.z9TCW2.XFHN4OE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pyM4uFQ1O.hFO5rFUkr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LC5xQ3QB.wmD4ZkfTmB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LC5xQ3QB.wmD4ZkfTmB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3Uyw2_T1Wj90SPW1vfi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6TFT3H0TNevVMM4QryAS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LC5xQ3QB.wmD4ZkfTmBw"/>
</p:tagLst>
</file>

<file path=ppt/theme/theme1.xml><?xml version="1.0" encoding="utf-8"?>
<a:theme xmlns:a="http://schemas.openxmlformats.org/drawingml/2006/main" name="10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1_Office Theme">
  <a:themeElements>
    <a:clrScheme name="Custom 1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0070C0"/>
      </a:hlink>
      <a:folHlink>
        <a:srgbClr val="00B0F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3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12_Office Theme">
  <a:themeElements>
    <a:clrScheme name="Custom 1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0070C0"/>
      </a:hlink>
      <a:folHlink>
        <a:srgbClr val="00B0F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OC0 xmlns="b4647670-8a1a-4303-bfca-411bbc0da688" xsi:nil="true"/>
    <SharedWithUsers xmlns="c7ec34b5-d637-4aef-8083-e887a6537c45">
      <UserInfo>
        <DisplayName>Snyder, Jill</DisplayName>
        <AccountId>27</AccountId>
        <AccountType/>
      </UserInfo>
      <UserInfo>
        <DisplayName>Caraway, Martin J (BVA)</DisplayName>
        <AccountId>18</AccountId>
        <AccountType/>
      </UserInfo>
      <UserInfo>
        <DisplayName>Lilly, Glynda</DisplayName>
        <AccountId>12</AccountId>
        <AccountType/>
      </UserInfo>
      <UserInfo>
        <DisplayName>Green, Eric</DisplayName>
        <AccountId>23</AccountId>
        <AccountType/>
      </UserInfo>
      <UserInfo>
        <DisplayName>Clendenning, Ruby B.</DisplayName>
        <AccountId>9</AccountId>
        <AccountType/>
      </UserInfo>
      <UserInfo>
        <DisplayName>Mozingo, Katy</DisplayName>
        <AccountId>15</AccountId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6680DDDBD4C8A4893649D119A9CA56E" ma:contentTypeVersion="10" ma:contentTypeDescription="Create a new document." ma:contentTypeScope="" ma:versionID="52f56efb340bfc9a713766f12206ab5d">
  <xsd:schema xmlns:xsd="http://www.w3.org/2001/XMLSchema" xmlns:xs="http://www.w3.org/2001/XMLSchema" xmlns:p="http://schemas.microsoft.com/office/2006/metadata/properties" xmlns:ns2="b4647670-8a1a-4303-bfca-411bbc0da688" xmlns:ns3="c7ec34b5-d637-4aef-8083-e887a6537c45" targetNamespace="http://schemas.microsoft.com/office/2006/metadata/properties" ma:root="true" ma:fieldsID="e5fa3c910709c02931106ad72c89defc" ns2:_="" ns3:_="">
    <xsd:import namespace="b4647670-8a1a-4303-bfca-411bbc0da688"/>
    <xsd:import namespace="c7ec34b5-d637-4aef-8083-e887a6537c4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POC0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647670-8a1a-4303-bfca-411bbc0da68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POC0" ma:index="10" nillable="true" ma:displayName="POC" ma:format="Dropdown" ma:internalName="POC0">
      <xsd:simpleType>
        <xsd:restriction base="dms:Text">
          <xsd:maxLength value="255"/>
        </xsd:restriction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7ec34b5-d637-4aef-8083-e887a6537c45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91CB08A-093C-4A1F-BC29-89267EF7AACC}">
  <ds:schemaRefs>
    <ds:schemaRef ds:uri="b4647670-8a1a-4303-bfca-411bbc0da688"/>
    <ds:schemaRef ds:uri="c7ec34b5-d637-4aef-8083-e887a6537c45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C6711E6-0CF8-4F5F-B6A9-E5CB738A5CE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EA95133-7F76-4D2E-8A66-621C6F254CD8}">
  <ds:schemaRefs>
    <ds:schemaRef ds:uri="b4647670-8a1a-4303-bfca-411bbc0da688"/>
    <ds:schemaRef ds:uri="c7ec34b5-d637-4aef-8083-e887a6537c4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58</TotalTime>
  <Words>1027</Words>
  <Application>Microsoft Office PowerPoint</Application>
  <PresentationFormat>Widescreen</PresentationFormat>
  <Paragraphs>279</Paragraphs>
  <Slides>1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4" baseType="lpstr">
      <vt:lpstr>Arial</vt:lpstr>
      <vt:lpstr>Calibri</vt:lpstr>
      <vt:lpstr>Calibri Light</vt:lpstr>
      <vt:lpstr>Myriad Pro</vt:lpstr>
      <vt:lpstr>Tahoma</vt:lpstr>
      <vt:lpstr>Wingdings</vt:lpstr>
      <vt:lpstr>10_Office Theme</vt:lpstr>
      <vt:lpstr>11_Office Theme</vt:lpstr>
      <vt:lpstr>3_Office Theme</vt:lpstr>
      <vt:lpstr>12_Office Theme</vt:lpstr>
      <vt:lpstr>think-cell Slide</vt:lpstr>
      <vt:lpstr>PowerPoint Presentation</vt:lpstr>
      <vt:lpstr>Department of Veterans Affairs</vt:lpstr>
      <vt:lpstr>PowerPoint Presentation</vt:lpstr>
      <vt:lpstr>Board of Veterans’ Appeals</vt:lpstr>
      <vt:lpstr>Total Appeals and Hearing Requests Pending</vt:lpstr>
      <vt:lpstr>Legacy and AMA Hearings Held To Date FY</vt:lpstr>
      <vt:lpstr>Legacy Appeals Pending</vt:lpstr>
      <vt:lpstr> Appeals Modernization Act</vt:lpstr>
      <vt:lpstr>Legacy Appeals – Resolution Rates (Board)</vt:lpstr>
      <vt:lpstr>AMA Claims &amp; Appeal Receipts</vt:lpstr>
      <vt:lpstr>AMA Appeals – Resolution Rates (Board)</vt:lpstr>
      <vt:lpstr>Timeliness:   AMA Average Days Pending </vt:lpstr>
      <vt:lpstr>FY 2022 Goals and Objectives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urphy, Elizabeth A.</dc:creator>
  <cp:lastModifiedBy>Clendenning, Ruby B.</cp:lastModifiedBy>
  <cp:revision>30</cp:revision>
  <cp:lastPrinted>2020-02-24T13:04:05Z</cp:lastPrinted>
  <dcterms:created xsi:type="dcterms:W3CDTF">2020-01-27T16:31:50Z</dcterms:created>
  <dcterms:modified xsi:type="dcterms:W3CDTF">2022-04-28T18:33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680DDDBD4C8A4893649D119A9CA56E</vt:lpwstr>
  </property>
</Properties>
</file>